
<file path=[Content_Types].xml><?xml version="1.0" encoding="utf-8"?>
<Types xmlns="http://schemas.openxmlformats.org/package/2006/content-types"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Default Extension="bin" ContentType="application/vnd.openxmlformats-officedocument.oleObject"/>
  <Default Extension="png" ContentType="image/png"/>
  <Override PartName="/ppt/slideMasters/slideMaster1.xml" ContentType="application/vnd.openxmlformats-officedocument.presentationml.slideMaster+xml"/>
  <Override PartName="/ppt/presProps.xml" ContentType="application/vnd.openxmlformats-officedocument.presentationml.presProps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revisionInfo.xml" ContentType="application/vnd.ms-powerpoint.revisioninfo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Default Extension="emf" ContentType="image/x-emf"/>
  <Override PartName="/ppt/tags/tag2.xml" ContentType="application/vnd.openxmlformats-officedocument.presentationml.tags+xml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slideLayouts/slideLayout1.xml" ContentType="application/vnd.openxmlformats-officedocument.presentationml.slideLayout+xml"/>
  <Override PartName="/docProps/app.xml" ContentType="application/vnd.openxmlformats-officedocument.extended-properties+xml"/>
  <Override PartName="/ppt/authors.xml" ContentType="application/vnd.ms-powerpoint.authors+xml"/>
  <Override PartName="/ppt/tableStyles.xml" ContentType="application/vnd.openxmlformats-officedocument.presentationml.tableStyles+xml"/>
  <Default Extension="vml" ContentType="application/vnd.openxmlformats-officedocument.vmlDrawing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docProps/core.xml" ContentType="application/vnd.openxmlformats-package.core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57" r:id="rId1"/>
  </p:sldMasterIdLst>
  <p:notesMasterIdLst>
    <p:notesMasterId r:id="rId4"/>
  </p:notesMasterIdLst>
  <p:sldIdLst>
    <p:sldId id="389" r:id="rId2"/>
    <p:sldId id="390" r:id="rId3"/>
  </p:sldIdLst>
  <p:sldSz cx="9906000" cy="6858000" type="A4"/>
  <p:notesSz cx="6797675" cy="9926638"/>
  <p:custDataLst>
    <p:tags r:id="rId5"/>
  </p:custDataLst>
  <p:defaultTextStyle>
    <a:defPPr>
      <a:defRPr lang="ru-RU"/>
    </a:defPPr>
    <a:lvl1pPr marL="0" algn="l" defTabSz="1278478" rtl="0" eaLnBrk="1" latinLnBrk="0" hangingPunct="1">
      <a:defRPr sz="2529" kern="1200">
        <a:solidFill>
          <a:schemeClr val="tx1"/>
        </a:solidFill>
        <a:latin typeface="+mn-lt"/>
        <a:ea typeface="+mn-ea"/>
        <a:cs typeface="+mn-cs"/>
      </a:defRPr>
    </a:lvl1pPr>
    <a:lvl2pPr marL="639240" algn="l" defTabSz="1278478" rtl="0" eaLnBrk="1" latinLnBrk="0" hangingPunct="1">
      <a:defRPr sz="2529" kern="1200">
        <a:solidFill>
          <a:schemeClr val="tx1"/>
        </a:solidFill>
        <a:latin typeface="+mn-lt"/>
        <a:ea typeface="+mn-ea"/>
        <a:cs typeface="+mn-cs"/>
      </a:defRPr>
    </a:lvl2pPr>
    <a:lvl3pPr marL="1278478" algn="l" defTabSz="1278478" rtl="0" eaLnBrk="1" latinLnBrk="0" hangingPunct="1">
      <a:defRPr sz="2529" kern="1200">
        <a:solidFill>
          <a:schemeClr val="tx1"/>
        </a:solidFill>
        <a:latin typeface="+mn-lt"/>
        <a:ea typeface="+mn-ea"/>
        <a:cs typeface="+mn-cs"/>
      </a:defRPr>
    </a:lvl3pPr>
    <a:lvl4pPr marL="1917716" algn="l" defTabSz="1278478" rtl="0" eaLnBrk="1" latinLnBrk="0" hangingPunct="1">
      <a:defRPr sz="2529" kern="1200">
        <a:solidFill>
          <a:schemeClr val="tx1"/>
        </a:solidFill>
        <a:latin typeface="+mn-lt"/>
        <a:ea typeface="+mn-ea"/>
        <a:cs typeface="+mn-cs"/>
      </a:defRPr>
    </a:lvl4pPr>
    <a:lvl5pPr marL="2556955" algn="l" defTabSz="1278478" rtl="0" eaLnBrk="1" latinLnBrk="0" hangingPunct="1">
      <a:defRPr sz="2529" kern="1200">
        <a:solidFill>
          <a:schemeClr val="tx1"/>
        </a:solidFill>
        <a:latin typeface="+mn-lt"/>
        <a:ea typeface="+mn-ea"/>
        <a:cs typeface="+mn-cs"/>
      </a:defRPr>
    </a:lvl5pPr>
    <a:lvl6pPr marL="3196196" algn="l" defTabSz="1278478" rtl="0" eaLnBrk="1" latinLnBrk="0" hangingPunct="1">
      <a:defRPr sz="2529" kern="1200">
        <a:solidFill>
          <a:schemeClr val="tx1"/>
        </a:solidFill>
        <a:latin typeface="+mn-lt"/>
        <a:ea typeface="+mn-ea"/>
        <a:cs typeface="+mn-cs"/>
      </a:defRPr>
    </a:lvl6pPr>
    <a:lvl7pPr marL="3835432" algn="l" defTabSz="1278478" rtl="0" eaLnBrk="1" latinLnBrk="0" hangingPunct="1">
      <a:defRPr sz="2529" kern="1200">
        <a:solidFill>
          <a:schemeClr val="tx1"/>
        </a:solidFill>
        <a:latin typeface="+mn-lt"/>
        <a:ea typeface="+mn-ea"/>
        <a:cs typeface="+mn-cs"/>
      </a:defRPr>
    </a:lvl7pPr>
    <a:lvl8pPr marL="4474672" algn="l" defTabSz="1278478" rtl="0" eaLnBrk="1" latinLnBrk="0" hangingPunct="1">
      <a:defRPr sz="2529" kern="1200">
        <a:solidFill>
          <a:schemeClr val="tx1"/>
        </a:solidFill>
        <a:latin typeface="+mn-lt"/>
        <a:ea typeface="+mn-ea"/>
        <a:cs typeface="+mn-cs"/>
      </a:defRPr>
    </a:lvl8pPr>
    <a:lvl9pPr marL="5113911" algn="l" defTabSz="1278478" rtl="0" eaLnBrk="1" latinLnBrk="0" hangingPunct="1">
      <a:defRPr sz="2529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="" xmlns:p15="http://schemas.microsoft.com/office/powerpoint/2012/main">
        <p15:guide id="1" orient="horz" pos="4201" userDrawn="1">
          <p15:clr>
            <a:srgbClr val="A4A3A4"/>
          </p15:clr>
        </p15:guide>
        <p15:guide id="2" pos="1260" userDrawn="1">
          <p15:clr>
            <a:srgbClr val="A4A3A4"/>
          </p15:clr>
        </p15:guide>
        <p15:guide id="3" pos="3392" userDrawn="1">
          <p15:clr>
            <a:srgbClr val="A4A3A4"/>
          </p15:clr>
        </p15:guide>
      </p15:sldGuideLst>
    </p:ext>
    <p:ext uri="{2D200454-40CA-4A62-9FC3-DE9A4176ACB9}">
      <p15:notesGuideLst xmlns="" xmlns:p15="http://schemas.microsoft.com/office/powerpoint/2012/main">
        <p15:guide id="1" orient="horz" pos="3127" userDrawn="1">
          <p15:clr>
            <a:srgbClr val="A4A3A4"/>
          </p15:clr>
        </p15:guide>
        <p15:guide id="2" pos="2141" userDrawn="1">
          <p15:clr>
            <a:srgbClr val="A4A3A4"/>
          </p15:clr>
        </p15:guide>
      </p15:notes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E78CEB6C-7532-32DB-A145-09FD7AD663E0}" name="Paul Miles" initials="PM" userId="e85d565d124ddbd8" providerId="Windows Live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="" xmlns:p14="http://schemas.microsoft.com/office/powerpoint/2010/main">
          <a:srgbClr val="FF0000"/>
        </p14:laserClr>
      </p:ext>
      <p:ext uri="{2FDB2607-1784-4EEB-B798-7EB5836EED8A}">
        <p14:showMediaCtrls xmlns="" xmlns:p14="http://schemas.microsoft.com/office/powerpoint/2010/main" val="1"/>
      </p:ext>
    </p:extLst>
  </p:showPr>
  <p:clrMru>
    <a:srgbClr val="F6F6F6"/>
    <a:srgbClr val="CCFF33"/>
    <a:srgbClr val="E7E7E7"/>
    <a:srgbClr val="3BAD82"/>
    <a:srgbClr val="355AE4"/>
    <a:srgbClr val="FFAA14"/>
  </p:clrMru>
  <p:extLst>
    <p:ext uri="{E76CE94A-603C-4142-B9EB-6D1370010A27}">
      <p14:discardImageEditData xmlns="" xmlns:p14="http://schemas.microsoft.com/office/powerpoint/2010/main" val="0"/>
    </p:ext>
    <p:ext uri="{D31A062A-798A-4329-ABDD-BBA856620510}">
      <p14:defaultImageDpi xmlns="" xmlns:p14="http://schemas.microsoft.com/office/powerpoint/2010/main" val="220"/>
    </p:ext>
    <p:ext uri="{FD5EFAAD-0ECE-453E-9831-46B23BE46B34}">
      <p15:chartTrackingRefBased xmlns=""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5C6105B1-D2B9-41E6-8C94-951D0A2C0451}" v="40" dt="2022-08-09T15:50:56.850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BC89EF96-8CEA-46FF-86C4-4CE0E7609802}" styleName="Light Style 3 - Accent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6E25E649-3F16-4E02-A733-19D2CDBF48F0}" styleName="Medium Style 3 - Accent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Средний стиль 2 — акцент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2A488322-F2BA-4B5B-9748-0D474271808F}" styleName="Средний стиль 3 — акцент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C083E6E3-FA7D-4D7B-A595-EF9225AFEA82}" styleName="Светлый стиль 1 — акцент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showOutlineIcons="0" horzBarState="maximized">
    <p:restoredLeft sz="14995" autoAdjust="0"/>
    <p:restoredTop sz="94444" autoAdjust="0"/>
  </p:normalViewPr>
  <p:slideViewPr>
    <p:cSldViewPr>
      <p:cViewPr varScale="1">
        <p:scale>
          <a:sx n="110" d="100"/>
          <a:sy n="110" d="100"/>
        </p:scale>
        <p:origin x="-774" y="-90"/>
      </p:cViewPr>
      <p:guideLst>
        <p:guide orient="horz" pos="4201"/>
        <p:guide pos="1260"/>
        <p:guide pos="3392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>
      <p:cViewPr varScale="1">
        <p:scale>
          <a:sx n="67" d="100"/>
          <a:sy n="67" d="100"/>
        </p:scale>
        <p:origin x="-3168" y="-77"/>
      </p:cViewPr>
      <p:guideLst>
        <p:guide orient="horz" pos="3127"/>
        <p:guide pos="2141"/>
      </p:guideLst>
    </p:cSldViewPr>
  </p:notes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11" Type="http://schemas.microsoft.com/office/2015/10/relationships/revisionInfo" Target="revisionInfo.xml"/><Relationship Id="rId5" Type="http://schemas.openxmlformats.org/officeDocument/2006/relationships/tags" Target="tags/tag1.xml"/><Relationship Id="rId10" Type="http://schemas.microsoft.com/office/2018/10/relationships/authors" Target="authors.xml"/><Relationship Id="rId4" Type="http://schemas.openxmlformats.org/officeDocument/2006/relationships/notesMaster" Target="notesMasters/notesMaster1.xml"/><Relationship Id="rId9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2"/>
            <a:ext cx="2945659" cy="496332"/>
          </a:xfrm>
          <a:prstGeom prst="rect">
            <a:avLst/>
          </a:prstGeom>
        </p:spPr>
        <p:txBody>
          <a:bodyPr vert="horz" lIns="92965" tIns="46482" rIns="92965" bIns="46482" rtlCol="0"/>
          <a:lstStyle>
            <a:lvl1pPr algn="l">
              <a:defRPr sz="1300"/>
            </a:lvl1pPr>
          </a:lstStyle>
          <a:p>
            <a:endParaRPr lang="ru-RU" dirty="0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50442" y="2"/>
            <a:ext cx="2945659" cy="496332"/>
          </a:xfrm>
          <a:prstGeom prst="rect">
            <a:avLst/>
          </a:prstGeom>
        </p:spPr>
        <p:txBody>
          <a:bodyPr vert="horz" lIns="92965" tIns="46482" rIns="92965" bIns="46482" rtlCol="0"/>
          <a:lstStyle>
            <a:lvl1pPr algn="r">
              <a:defRPr sz="1300"/>
            </a:lvl1pPr>
          </a:lstStyle>
          <a:p>
            <a:fld id="{E6D43047-6575-4BE6-A699-8F0CBF34195F}" type="datetimeFigureOut">
              <a:rPr lang="ru-RU" smtClean="0"/>
              <a:pPr/>
              <a:t>01.02.2023</a:t>
            </a:fld>
            <a:endParaRPr lang="ru-RU" dirty="0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709613" y="744538"/>
            <a:ext cx="5378450" cy="37242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2965" tIns="46482" rIns="92965" bIns="46482" rtlCol="0" anchor="ctr"/>
          <a:lstStyle/>
          <a:p>
            <a:endParaRPr lang="ru-RU" dirty="0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768" y="4715153"/>
            <a:ext cx="5438140" cy="4466987"/>
          </a:xfrm>
          <a:prstGeom prst="rect">
            <a:avLst/>
          </a:prstGeom>
        </p:spPr>
        <p:txBody>
          <a:bodyPr vert="horz" lIns="92965" tIns="46482" rIns="92965" bIns="46482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428584"/>
            <a:ext cx="2945659" cy="496332"/>
          </a:xfrm>
          <a:prstGeom prst="rect">
            <a:avLst/>
          </a:prstGeom>
        </p:spPr>
        <p:txBody>
          <a:bodyPr vert="horz" lIns="92965" tIns="46482" rIns="92965" bIns="46482" rtlCol="0" anchor="b"/>
          <a:lstStyle>
            <a:lvl1pPr algn="l">
              <a:defRPr sz="1300"/>
            </a:lvl1pPr>
          </a:lstStyle>
          <a:p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50442" y="9428584"/>
            <a:ext cx="2945659" cy="496332"/>
          </a:xfrm>
          <a:prstGeom prst="rect">
            <a:avLst/>
          </a:prstGeom>
        </p:spPr>
        <p:txBody>
          <a:bodyPr vert="horz" lIns="92965" tIns="46482" rIns="92965" bIns="46482" rtlCol="0" anchor="b"/>
          <a:lstStyle>
            <a:lvl1pPr algn="r">
              <a:defRPr sz="1300"/>
            </a:lvl1pPr>
          </a:lstStyle>
          <a:p>
            <a:fld id="{5BE73E3D-4255-4BEF-81C8-40FFDC603DE8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="" xmlns:p14="http://schemas.microsoft.com/office/powerpoint/2010/main" val="395535238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1278478" rtl="0" eaLnBrk="1" latinLnBrk="0" hangingPunct="1">
      <a:defRPr sz="1686" kern="1200">
        <a:solidFill>
          <a:schemeClr val="tx1"/>
        </a:solidFill>
        <a:latin typeface="+mn-lt"/>
        <a:ea typeface="+mn-ea"/>
        <a:cs typeface="+mn-cs"/>
      </a:defRPr>
    </a:lvl1pPr>
    <a:lvl2pPr marL="639240" algn="l" defTabSz="1278478" rtl="0" eaLnBrk="1" latinLnBrk="0" hangingPunct="1">
      <a:defRPr sz="1686" kern="1200">
        <a:solidFill>
          <a:schemeClr val="tx1"/>
        </a:solidFill>
        <a:latin typeface="+mn-lt"/>
        <a:ea typeface="+mn-ea"/>
        <a:cs typeface="+mn-cs"/>
      </a:defRPr>
    </a:lvl2pPr>
    <a:lvl3pPr marL="1278478" algn="l" defTabSz="1278478" rtl="0" eaLnBrk="1" latinLnBrk="0" hangingPunct="1">
      <a:defRPr sz="1686" kern="1200">
        <a:solidFill>
          <a:schemeClr val="tx1"/>
        </a:solidFill>
        <a:latin typeface="+mn-lt"/>
        <a:ea typeface="+mn-ea"/>
        <a:cs typeface="+mn-cs"/>
      </a:defRPr>
    </a:lvl3pPr>
    <a:lvl4pPr marL="1917716" algn="l" defTabSz="1278478" rtl="0" eaLnBrk="1" latinLnBrk="0" hangingPunct="1">
      <a:defRPr sz="1686" kern="1200">
        <a:solidFill>
          <a:schemeClr val="tx1"/>
        </a:solidFill>
        <a:latin typeface="+mn-lt"/>
        <a:ea typeface="+mn-ea"/>
        <a:cs typeface="+mn-cs"/>
      </a:defRPr>
    </a:lvl4pPr>
    <a:lvl5pPr marL="2556955" algn="l" defTabSz="1278478" rtl="0" eaLnBrk="1" latinLnBrk="0" hangingPunct="1">
      <a:defRPr sz="1686" kern="1200">
        <a:solidFill>
          <a:schemeClr val="tx1"/>
        </a:solidFill>
        <a:latin typeface="+mn-lt"/>
        <a:ea typeface="+mn-ea"/>
        <a:cs typeface="+mn-cs"/>
      </a:defRPr>
    </a:lvl5pPr>
    <a:lvl6pPr marL="3196196" algn="l" defTabSz="1278478" rtl="0" eaLnBrk="1" latinLnBrk="0" hangingPunct="1">
      <a:defRPr sz="1686" kern="1200">
        <a:solidFill>
          <a:schemeClr val="tx1"/>
        </a:solidFill>
        <a:latin typeface="+mn-lt"/>
        <a:ea typeface="+mn-ea"/>
        <a:cs typeface="+mn-cs"/>
      </a:defRPr>
    </a:lvl6pPr>
    <a:lvl7pPr marL="3835432" algn="l" defTabSz="1278478" rtl="0" eaLnBrk="1" latinLnBrk="0" hangingPunct="1">
      <a:defRPr sz="1686" kern="1200">
        <a:solidFill>
          <a:schemeClr val="tx1"/>
        </a:solidFill>
        <a:latin typeface="+mn-lt"/>
        <a:ea typeface="+mn-ea"/>
        <a:cs typeface="+mn-cs"/>
      </a:defRPr>
    </a:lvl7pPr>
    <a:lvl8pPr marL="4474672" algn="l" defTabSz="1278478" rtl="0" eaLnBrk="1" latinLnBrk="0" hangingPunct="1">
      <a:defRPr sz="1686" kern="1200">
        <a:solidFill>
          <a:schemeClr val="tx1"/>
        </a:solidFill>
        <a:latin typeface="+mn-lt"/>
        <a:ea typeface="+mn-ea"/>
        <a:cs typeface="+mn-cs"/>
      </a:defRPr>
    </a:lvl8pPr>
    <a:lvl9pPr marL="5113911" algn="l" defTabSz="1278478" rtl="0" eaLnBrk="1" latinLnBrk="0" hangingPunct="1">
      <a:defRPr sz="1686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Рисунок 12"/>
          <p:cNvSpPr>
            <a:spLocks noGrp="1"/>
          </p:cNvSpPr>
          <p:nvPr>
            <p:ph type="pic" sz="quarter" idx="11"/>
          </p:nvPr>
        </p:nvSpPr>
        <p:spPr>
          <a:xfrm>
            <a:off x="6051550" y="579457"/>
            <a:ext cx="3282307" cy="6304289"/>
          </a:xfrm>
        </p:spPr>
        <p:txBody>
          <a:bodyPr/>
          <a:lstStyle/>
          <a:p>
            <a:endParaRPr lang="ru-RU" dirty="0"/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0" hasCustomPrompt="1"/>
          </p:nvPr>
        </p:nvSpPr>
        <p:spPr>
          <a:xfrm>
            <a:off x="561936" y="5940462"/>
            <a:ext cx="3658611" cy="289226"/>
          </a:xfrm>
        </p:spPr>
        <p:txBody>
          <a:bodyPr lIns="0" tIns="0" rIns="0" bIns="0">
            <a:noAutofit/>
          </a:bodyPr>
          <a:lstStyle>
            <a:lvl1pPr marL="0" indent="0">
              <a:buNone/>
              <a:defRPr sz="1207"/>
            </a:lvl1pPr>
          </a:lstStyle>
          <a:p>
            <a:r>
              <a:rPr lang="ru-RU" sz="1207" dirty="0"/>
              <a:t>Москва, 2021 год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13" hasCustomPrompt="1"/>
          </p:nvPr>
        </p:nvSpPr>
        <p:spPr>
          <a:xfrm>
            <a:off x="561936" y="1733118"/>
            <a:ext cx="4914286" cy="1931441"/>
          </a:xfrm>
        </p:spPr>
        <p:txBody>
          <a:bodyPr lIns="0" tIns="0" rIns="0" bIns="0">
            <a:noAutofit/>
          </a:bodyPr>
          <a:lstStyle>
            <a:lvl1pPr marL="0" indent="0">
              <a:buNone/>
              <a:defRPr sz="2415" b="1" baseline="0"/>
            </a:lvl1pPr>
          </a:lstStyle>
          <a:p>
            <a:pPr lvl="0"/>
            <a:r>
              <a:rPr lang="ru-RU" dirty="0"/>
              <a:t>ЗАГОЛОВОК ПРЕЗЕНТАЦИИ ВСЕГДА НАБИРАЕТСЯ ЗАГЛАВНЫМИ</a:t>
            </a:r>
          </a:p>
        </p:txBody>
      </p:sp>
      <p:pic>
        <p:nvPicPr>
          <p:cNvPr id="10" name="Picture 5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=""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66698" y="579458"/>
            <a:ext cx="1455778" cy="18688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="" xmlns:p14="http://schemas.microsoft.com/office/powerpoint/2010/main" val="2308813287"/>
      </p:ext>
    </p:extLst>
  </p:cSld>
  <p:clrMapOvr>
    <a:masterClrMapping/>
  </p:clrMapOvr>
  <p:extLst>
    <p:ext uri="{DCECCB84-F9BA-43D5-87BE-67443E8EF086}">
      <p15:sldGuideLst xmlns="" xmlns:p15="http://schemas.microsoft.com/office/powerpoint/2012/main">
        <p15:guide id="2" pos="5888">
          <p15:clr>
            <a:srgbClr val="FBAE40"/>
          </p15:clr>
        </p15:guide>
        <p15:guide id="3" pos="5526">
          <p15:clr>
            <a:srgbClr val="FBAE40"/>
          </p15:clr>
        </p15:guide>
        <p15:guide id="4" pos="2428">
          <p15:clr>
            <a:srgbClr val="FBAE40"/>
          </p15:clr>
        </p15:guide>
        <p15:guide id="5" pos="352">
          <p15:clr>
            <a:srgbClr val="FBAE40"/>
          </p15:clr>
        </p15:guide>
        <p15:guide id="6" pos="714">
          <p15:clr>
            <a:srgbClr val="FBAE40"/>
          </p15:clr>
        </p15:guide>
        <p15:guide id="7" pos="5328">
          <p15:clr>
            <a:srgbClr val="FBAE40"/>
          </p15:clr>
        </p15:guide>
        <p15:guide id="8" pos="4966">
          <p15:clr>
            <a:srgbClr val="FBAE40"/>
          </p15:clr>
        </p15:guide>
        <p15:guide id="9" pos="912">
          <p15:clr>
            <a:srgbClr val="FBAE40"/>
          </p15:clr>
        </p15:guide>
        <p15:guide id="10" pos="1274">
          <p15:clr>
            <a:srgbClr val="FBAE40"/>
          </p15:clr>
        </p15:guide>
        <p15:guide id="11" pos="1472">
          <p15:clr>
            <a:srgbClr val="FBAE40"/>
          </p15:clr>
        </p15:guide>
        <p15:guide id="12" pos="1867">
          <p15:clr>
            <a:srgbClr val="FBAE40"/>
          </p15:clr>
        </p15:guide>
        <p15:guide id="13" pos="2065">
          <p15:clr>
            <a:srgbClr val="FBAE40"/>
          </p15:clr>
        </p15:guide>
        <p15:guide id="17" pos="3812">
          <p15:clr>
            <a:srgbClr val="FBAE40"/>
          </p15:clr>
        </p15:guide>
        <p15:guide id="18" pos="2659">
          <p15:clr>
            <a:srgbClr val="FBAE40"/>
          </p15:clr>
        </p15:guide>
        <p15:guide id="20" pos="3021">
          <p15:clr>
            <a:srgbClr val="FBAE40"/>
          </p15:clr>
        </p15:guide>
        <p15:guide id="21" pos="3219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Рисунок 4"/>
          <p:cNvSpPr>
            <a:spLocks noGrp="1"/>
          </p:cNvSpPr>
          <p:nvPr>
            <p:ph type="pic" sz="quarter" idx="10"/>
          </p:nvPr>
        </p:nvSpPr>
        <p:spPr>
          <a:xfrm>
            <a:off x="557773" y="1385169"/>
            <a:ext cx="3296678" cy="5471766"/>
          </a:xfrm>
        </p:spPr>
        <p:txBody>
          <a:bodyPr/>
          <a:lstStyle/>
          <a:p>
            <a:endParaRPr lang="ru-RU" dirty="0"/>
          </a:p>
        </p:txBody>
      </p:sp>
      <p:sp>
        <p:nvSpPr>
          <p:cNvPr id="3" name="Текст 2"/>
          <p:cNvSpPr>
            <a:spLocks noGrp="1"/>
          </p:cNvSpPr>
          <p:nvPr>
            <p:ph type="body" sz="quarter" idx="12" hasCustomPrompt="1"/>
          </p:nvPr>
        </p:nvSpPr>
        <p:spPr>
          <a:xfrm>
            <a:off x="4221163" y="1385169"/>
            <a:ext cx="4324624" cy="2076246"/>
          </a:xfrm>
        </p:spPr>
        <p:txBody>
          <a:bodyPr lIns="0" tIns="0" rIns="0" bIns="0">
            <a:noAutofit/>
          </a:bodyPr>
          <a:lstStyle>
            <a:lvl1pPr marL="0" indent="0">
              <a:buNone/>
              <a:defRPr sz="2415" b="1" baseline="0"/>
            </a:lvl1pPr>
          </a:lstStyle>
          <a:p>
            <a:pPr lvl="0"/>
            <a:r>
              <a:rPr lang="ru-RU" dirty="0"/>
              <a:t>ОБЛОЖКА РАЗДЕЛА </a:t>
            </a:r>
          </a:p>
          <a:p>
            <a:pPr lvl="0"/>
            <a:r>
              <a:rPr lang="ru-RU" dirty="0"/>
              <a:t>ПРЕЗЕНТАЦИИ</a:t>
            </a:r>
          </a:p>
        </p:txBody>
      </p:sp>
      <p:pic>
        <p:nvPicPr>
          <p:cNvPr id="6" name="Picture 5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=""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66698" y="579458"/>
            <a:ext cx="1455778" cy="18688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="" xmlns:p14="http://schemas.microsoft.com/office/powerpoint/2010/main" val="539648890"/>
      </p:ext>
    </p:extLst>
  </p:cSld>
  <p:clrMapOvr>
    <a:masterClrMapping/>
  </p:clrMapOvr>
  <p:extLst>
    <p:ext uri="{DCECCB84-F9BA-43D5-87BE-67443E8EF086}">
      <p15:sldGuideLst xmlns=""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Основн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" name="Группа 14"/>
          <p:cNvGrpSpPr/>
          <p:nvPr userDrawn="1"/>
        </p:nvGrpSpPr>
        <p:grpSpPr>
          <a:xfrm>
            <a:off x="9534005" y="592796"/>
            <a:ext cx="371996" cy="210318"/>
            <a:chOff x="17451741" y="889487"/>
            <a:chExt cx="684138" cy="313578"/>
          </a:xfrm>
        </p:grpSpPr>
        <p:sp>
          <p:nvSpPr>
            <p:cNvPr id="16" name="Прямоугольник 15"/>
            <p:cNvSpPr/>
            <p:nvPr/>
          </p:nvSpPr>
          <p:spPr>
            <a:xfrm>
              <a:off x="17451741" y="889487"/>
              <a:ext cx="680558" cy="313578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2415" dirty="0"/>
            </a:p>
          </p:txBody>
        </p:sp>
        <p:sp>
          <p:nvSpPr>
            <p:cNvPr id="17" name="Прямоугольник 16"/>
            <p:cNvSpPr/>
            <p:nvPr/>
          </p:nvSpPr>
          <p:spPr>
            <a:xfrm>
              <a:off x="18055263" y="889487"/>
              <a:ext cx="80616" cy="313578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2415" dirty="0"/>
            </a:p>
          </p:txBody>
        </p:sp>
      </p:grpSp>
      <p:sp>
        <p:nvSpPr>
          <p:cNvPr id="4" name="Номер слайда 3"/>
          <p:cNvSpPr>
            <a:spLocks noGrp="1"/>
          </p:cNvSpPr>
          <p:nvPr>
            <p:ph type="sldNum" sz="quarter" idx="16"/>
          </p:nvPr>
        </p:nvSpPr>
        <p:spPr>
          <a:xfrm>
            <a:off x="9532058" y="592796"/>
            <a:ext cx="328161" cy="210318"/>
          </a:xfrm>
        </p:spPr>
        <p:txBody>
          <a:bodyPr lIns="0" tIns="0" rIns="0" bIns="0"/>
          <a:lstStyle>
            <a:lvl1pPr algn="ctr">
              <a:defRPr sz="805">
                <a:solidFill>
                  <a:schemeClr val="bg1"/>
                </a:solidFill>
              </a:defRPr>
            </a:lvl1pPr>
          </a:lstStyle>
          <a:p>
            <a:fld id="{77CCD23E-997B-4E57-B2D9-5E2603462AC4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Заголовок 1">
            <a:extLst>
              <a:ext uri="{FF2B5EF4-FFF2-40B4-BE49-F238E27FC236}">
                <a16:creationId xmlns="" xmlns:a16="http://schemas.microsoft.com/office/drawing/2014/main" id="{00CFE776-C915-45B1-B263-F60E584CE93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7942" y="531159"/>
            <a:ext cx="6980500" cy="802309"/>
          </a:xfrm>
        </p:spPr>
        <p:txBody>
          <a:bodyPr lIns="0" tIns="0" rIns="0" bIns="0" anchor="t">
            <a:noAutofit/>
          </a:bodyPr>
          <a:lstStyle>
            <a:lvl1pPr algn="l">
              <a:defRPr sz="2012"/>
            </a:lvl1pPr>
          </a:lstStyle>
          <a:p>
            <a:r>
              <a:rPr lang="ru-RU" dirty="0"/>
              <a:t>Образец заголовка</a:t>
            </a:r>
          </a:p>
        </p:txBody>
      </p:sp>
      <p:pic>
        <p:nvPicPr>
          <p:cNvPr id="11" name="Picture 5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=""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929312" y="618792"/>
            <a:ext cx="1418746" cy="18212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="" xmlns:p14="http://schemas.microsoft.com/office/powerpoint/2010/main" val="3144225808"/>
      </p:ext>
    </p:extLst>
  </p:cSld>
  <p:clrMapOvr>
    <a:masterClrMapping/>
  </p:clrMapOvr>
  <p:extLst>
    <p:ext uri="{DCECCB84-F9BA-43D5-87BE-67443E8EF086}">
      <p15:sldGuideLst xmlns=""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Мокап телефо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6" name="Picture 3" descr="C:\Users\Ольга\Google Диск\_Проекты\VM135 Шаблон презентации ПР\02 дизайн\слайды\айфон-16.png"/>
          <p:cNvPicPr>
            <a:picLocks noChangeAspect="1" noChangeArrowheads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="" xmlns:a14="http://schemas.microsoft.com/office/drawing/2010/main"/>
              </a:ext>
            </a:extLst>
          </a:blip>
          <a:srcRect/>
          <a:stretch/>
        </p:blipFill>
        <p:spPr bwMode="auto">
          <a:xfrm>
            <a:off x="5659012" y="1508820"/>
            <a:ext cx="3297329" cy="5554194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4" name="Picture 3" descr="C:\Users\Ольга\Google Диск\_Проекты\VM135 Шаблон презентации ПР\02 дизайн\слайды\айфон-16.png"/>
          <p:cNvPicPr>
            <a:picLocks noChangeAspect="1" noChangeArrowheads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=""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199406" y="1629121"/>
            <a:ext cx="2043513" cy="3984639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5" name="Группа 14"/>
          <p:cNvGrpSpPr/>
          <p:nvPr userDrawn="1"/>
        </p:nvGrpSpPr>
        <p:grpSpPr>
          <a:xfrm>
            <a:off x="9534005" y="592796"/>
            <a:ext cx="371996" cy="210318"/>
            <a:chOff x="17451741" y="889487"/>
            <a:chExt cx="684138" cy="313578"/>
          </a:xfrm>
        </p:grpSpPr>
        <p:sp>
          <p:nvSpPr>
            <p:cNvPr id="16" name="Прямоугольник 15"/>
            <p:cNvSpPr/>
            <p:nvPr/>
          </p:nvSpPr>
          <p:spPr>
            <a:xfrm>
              <a:off x="17451741" y="889487"/>
              <a:ext cx="680558" cy="313578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2415" dirty="0"/>
            </a:p>
          </p:txBody>
        </p:sp>
        <p:sp>
          <p:nvSpPr>
            <p:cNvPr id="17" name="Прямоугольник 16"/>
            <p:cNvSpPr/>
            <p:nvPr/>
          </p:nvSpPr>
          <p:spPr>
            <a:xfrm>
              <a:off x="18055263" y="889487"/>
              <a:ext cx="80616" cy="313578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2415" dirty="0"/>
            </a:p>
          </p:txBody>
        </p:sp>
      </p:grpSp>
      <p:sp>
        <p:nvSpPr>
          <p:cNvPr id="19" name="Рисунок 3">
            <a:extLst>
              <a:ext uri="{FF2B5EF4-FFF2-40B4-BE49-F238E27FC236}">
                <a16:creationId xmlns="" xmlns:a16="http://schemas.microsoft.com/office/drawing/2014/main" id="{4089DFBA-AA42-46CA-961C-F92C5F875ED6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3368780" y="1755812"/>
            <a:ext cx="1741383" cy="3755479"/>
          </a:xfrm>
          <a:prstGeom prst="roundRect">
            <a:avLst>
              <a:gd name="adj" fmla="val 10423"/>
            </a:avLst>
          </a:prstGeom>
        </p:spPr>
      </p:sp>
      <p:sp>
        <p:nvSpPr>
          <p:cNvPr id="22" name="Рисунок 3">
            <a:extLst>
              <a:ext uri="{FF2B5EF4-FFF2-40B4-BE49-F238E27FC236}">
                <a16:creationId xmlns="" xmlns:a16="http://schemas.microsoft.com/office/drawing/2014/main" id="{4089DFBA-AA42-46CA-961C-F92C5F875ED6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5894971" y="1713724"/>
            <a:ext cx="2877554" cy="7171919"/>
          </a:xfrm>
          <a:prstGeom prst="roundRect">
            <a:avLst>
              <a:gd name="adj" fmla="val 10423"/>
            </a:avLst>
          </a:prstGeom>
        </p:spPr>
      </p:sp>
      <p:sp>
        <p:nvSpPr>
          <p:cNvPr id="18" name="Номер слайда 3">
            <a:extLst>
              <a:ext uri="{FF2B5EF4-FFF2-40B4-BE49-F238E27FC236}">
                <a16:creationId xmlns="" xmlns:a16="http://schemas.microsoft.com/office/drawing/2014/main" id="{3D243143-1EB5-D44E-ADB1-867F2DAD3B3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9532058" y="592796"/>
            <a:ext cx="328161" cy="210318"/>
          </a:xfrm>
        </p:spPr>
        <p:txBody>
          <a:bodyPr lIns="0" tIns="0" rIns="0" bIns="0"/>
          <a:lstStyle>
            <a:lvl1pPr algn="ctr">
              <a:defRPr sz="805">
                <a:solidFill>
                  <a:schemeClr val="bg1"/>
                </a:solidFill>
              </a:defRPr>
            </a:lvl1pPr>
          </a:lstStyle>
          <a:p>
            <a:fld id="{77CCD23E-997B-4E57-B2D9-5E2603462AC4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Заголовок 1">
            <a:extLst>
              <a:ext uri="{FF2B5EF4-FFF2-40B4-BE49-F238E27FC236}">
                <a16:creationId xmlns="" xmlns:a16="http://schemas.microsoft.com/office/drawing/2014/main" id="{A96F4D29-733A-4F2F-B9A7-CF767F3155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9798" y="531160"/>
            <a:ext cx="7176275" cy="754011"/>
          </a:xfrm>
        </p:spPr>
        <p:txBody>
          <a:bodyPr lIns="0" tIns="0" rIns="0" bIns="0" anchor="t">
            <a:noAutofit/>
          </a:bodyPr>
          <a:lstStyle>
            <a:lvl1pPr marL="0" algn="l" defTabSz="1220432" rtl="0" eaLnBrk="1" latinLnBrk="0" hangingPunct="1">
              <a:spcBef>
                <a:spcPct val="0"/>
              </a:spcBef>
              <a:buNone/>
              <a:defRPr lang="ru-RU" sz="2012" b="1" kern="120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21" hasCustomPrompt="1"/>
          </p:nvPr>
        </p:nvSpPr>
        <p:spPr>
          <a:xfrm>
            <a:off x="574844" y="1786891"/>
            <a:ext cx="2208469" cy="1834550"/>
          </a:xfrm>
        </p:spPr>
        <p:txBody>
          <a:bodyPr lIns="0" tIns="0" rIns="0" bIns="0">
            <a:normAutofit/>
          </a:bodyPr>
          <a:lstStyle>
            <a:lvl1pPr marL="0" marR="0" indent="0" algn="l" defTabSz="122043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939"/>
            </a:lvl1pPr>
          </a:lstStyle>
          <a:p>
            <a:pPr marL="0" marR="0" lvl="0" indent="0" algn="l" defTabSz="122043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ru-RU" sz="939" dirty="0"/>
              <a:t>Работы, проведенные отделом управления клиентской аналитики, </a:t>
            </a:r>
          </a:p>
          <a:p>
            <a:pPr marL="0" marR="0" lvl="0" indent="0" algn="l" defTabSz="122043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ru-RU" sz="939" dirty="0"/>
              <a:t>для проекта</a:t>
            </a:r>
          </a:p>
          <a:p>
            <a:pPr lvl="0"/>
            <a:endParaRPr lang="ru-RU" dirty="0"/>
          </a:p>
        </p:txBody>
      </p:sp>
      <p:pic>
        <p:nvPicPr>
          <p:cNvPr id="20" name="Picture 5"/>
          <p:cNvPicPr>
            <a:picLocks noChangeAspect="1" noChangeArrowheads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=""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929312" y="618792"/>
            <a:ext cx="1418746" cy="18212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="" xmlns:p14="http://schemas.microsoft.com/office/powerpoint/2010/main" val="290532614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Мокап браузе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" name="Группа 14"/>
          <p:cNvGrpSpPr/>
          <p:nvPr userDrawn="1"/>
        </p:nvGrpSpPr>
        <p:grpSpPr>
          <a:xfrm>
            <a:off x="9534005" y="592796"/>
            <a:ext cx="371996" cy="210318"/>
            <a:chOff x="17451741" y="889487"/>
            <a:chExt cx="684138" cy="313578"/>
          </a:xfrm>
        </p:grpSpPr>
        <p:sp>
          <p:nvSpPr>
            <p:cNvPr id="16" name="Прямоугольник 15"/>
            <p:cNvSpPr/>
            <p:nvPr/>
          </p:nvSpPr>
          <p:spPr>
            <a:xfrm>
              <a:off x="17451741" y="889487"/>
              <a:ext cx="680558" cy="313578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2415" dirty="0"/>
            </a:p>
          </p:txBody>
        </p:sp>
        <p:sp>
          <p:nvSpPr>
            <p:cNvPr id="17" name="Прямоугольник 16"/>
            <p:cNvSpPr/>
            <p:nvPr/>
          </p:nvSpPr>
          <p:spPr>
            <a:xfrm>
              <a:off x="18055263" y="889487"/>
              <a:ext cx="80616" cy="313578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2415" dirty="0"/>
            </a:p>
          </p:txBody>
        </p:sp>
      </p:grpSp>
      <p:sp>
        <p:nvSpPr>
          <p:cNvPr id="12" name="Номер слайда 3">
            <a:extLst>
              <a:ext uri="{FF2B5EF4-FFF2-40B4-BE49-F238E27FC236}">
                <a16:creationId xmlns="" xmlns:a16="http://schemas.microsoft.com/office/drawing/2014/main" id="{883E7A7A-E7A8-E748-8CFC-E055B927080B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9532058" y="592796"/>
            <a:ext cx="328161" cy="210318"/>
          </a:xfrm>
        </p:spPr>
        <p:txBody>
          <a:bodyPr lIns="0" tIns="0" rIns="0" bIns="0"/>
          <a:lstStyle>
            <a:lvl1pPr algn="ctr">
              <a:defRPr sz="805">
                <a:solidFill>
                  <a:schemeClr val="bg1"/>
                </a:solidFill>
              </a:defRPr>
            </a:lvl1pPr>
          </a:lstStyle>
          <a:p>
            <a:fld id="{77CCD23E-997B-4E57-B2D9-5E2603462AC4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Заголовок 1">
            <a:extLst>
              <a:ext uri="{FF2B5EF4-FFF2-40B4-BE49-F238E27FC236}">
                <a16:creationId xmlns="" xmlns:a16="http://schemas.microsoft.com/office/drawing/2014/main" id="{B00D71C7-09AB-4656-896D-6F962B9D702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7942" y="531159"/>
            <a:ext cx="6854198" cy="810062"/>
          </a:xfrm>
        </p:spPr>
        <p:txBody>
          <a:bodyPr lIns="0" tIns="0" rIns="0" bIns="0" anchor="t">
            <a:noAutofit/>
          </a:bodyPr>
          <a:lstStyle>
            <a:lvl1pPr algn="l">
              <a:defRPr sz="2012"/>
            </a:lvl1pPr>
          </a:lstStyle>
          <a:p>
            <a:r>
              <a:rPr lang="ru-RU" dirty="0"/>
              <a:t>Образец заголовка</a:t>
            </a:r>
          </a:p>
        </p:txBody>
      </p:sp>
      <p:pic>
        <p:nvPicPr>
          <p:cNvPr id="19" name="Picture 3" descr="C:\Users\Ольга\Google Диск\_Проекты\VM135 Шаблон презентации ПР\02 дизайн\слайды\браузер-17.png"/>
          <p:cNvPicPr>
            <a:picLocks noChangeAspect="1" noChangeArrowheads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="" xmlns:a14="http://schemas.microsoft.com/office/drawing/2010/main"/>
              </a:ext>
            </a:extLst>
          </a:blip>
          <a:srcRect/>
          <a:stretch/>
        </p:blipFill>
        <p:spPr bwMode="auto">
          <a:xfrm>
            <a:off x="2456899" y="1014133"/>
            <a:ext cx="6528661" cy="5307781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Рисунок 4"/>
          <p:cNvSpPr>
            <a:spLocks noGrp="1"/>
          </p:cNvSpPr>
          <p:nvPr>
            <p:ph type="pic" sz="quarter" idx="18"/>
          </p:nvPr>
        </p:nvSpPr>
        <p:spPr>
          <a:xfrm>
            <a:off x="2972452" y="2023792"/>
            <a:ext cx="5808297" cy="3565508"/>
          </a:xfrm>
          <a:custGeom>
            <a:avLst/>
            <a:gdLst>
              <a:gd name="connsiteX0" fmla="*/ 0 w 10064299"/>
              <a:gd name="connsiteY0" fmla="*/ 161526 h 6445557"/>
              <a:gd name="connsiteX1" fmla="*/ 161526 w 10064299"/>
              <a:gd name="connsiteY1" fmla="*/ 0 h 6445557"/>
              <a:gd name="connsiteX2" fmla="*/ 9902773 w 10064299"/>
              <a:gd name="connsiteY2" fmla="*/ 0 h 6445557"/>
              <a:gd name="connsiteX3" fmla="*/ 10064299 w 10064299"/>
              <a:gd name="connsiteY3" fmla="*/ 161526 h 6445557"/>
              <a:gd name="connsiteX4" fmla="*/ 10064299 w 10064299"/>
              <a:gd name="connsiteY4" fmla="*/ 6284031 h 6445557"/>
              <a:gd name="connsiteX5" fmla="*/ 9902773 w 10064299"/>
              <a:gd name="connsiteY5" fmla="*/ 6445557 h 6445557"/>
              <a:gd name="connsiteX6" fmla="*/ 161526 w 10064299"/>
              <a:gd name="connsiteY6" fmla="*/ 6445557 h 6445557"/>
              <a:gd name="connsiteX7" fmla="*/ 0 w 10064299"/>
              <a:gd name="connsiteY7" fmla="*/ 6284031 h 6445557"/>
              <a:gd name="connsiteX8" fmla="*/ 0 w 10064299"/>
              <a:gd name="connsiteY8" fmla="*/ 161526 h 6445557"/>
              <a:gd name="connsiteX0" fmla="*/ 0 w 10064299"/>
              <a:gd name="connsiteY0" fmla="*/ 161526 h 6445557"/>
              <a:gd name="connsiteX1" fmla="*/ 161526 w 10064299"/>
              <a:gd name="connsiteY1" fmla="*/ 0 h 6445557"/>
              <a:gd name="connsiteX2" fmla="*/ 9902773 w 10064299"/>
              <a:gd name="connsiteY2" fmla="*/ 0 h 6445557"/>
              <a:gd name="connsiteX3" fmla="*/ 10064299 w 10064299"/>
              <a:gd name="connsiteY3" fmla="*/ 161526 h 6445557"/>
              <a:gd name="connsiteX4" fmla="*/ 10064299 w 10064299"/>
              <a:gd name="connsiteY4" fmla="*/ 6284031 h 6445557"/>
              <a:gd name="connsiteX5" fmla="*/ 9902773 w 10064299"/>
              <a:gd name="connsiteY5" fmla="*/ 6445557 h 6445557"/>
              <a:gd name="connsiteX6" fmla="*/ 161526 w 10064299"/>
              <a:gd name="connsiteY6" fmla="*/ 6445557 h 6445557"/>
              <a:gd name="connsiteX7" fmla="*/ 0 w 10064299"/>
              <a:gd name="connsiteY7" fmla="*/ 6284031 h 6445557"/>
              <a:gd name="connsiteX8" fmla="*/ 0 w 10064299"/>
              <a:gd name="connsiteY8" fmla="*/ 161526 h 6445557"/>
              <a:gd name="connsiteX0" fmla="*/ 0 w 10064299"/>
              <a:gd name="connsiteY0" fmla="*/ 798656 h 7082687"/>
              <a:gd name="connsiteX1" fmla="*/ 1482982 w 10064299"/>
              <a:gd name="connsiteY1" fmla="*/ 0 h 7082687"/>
              <a:gd name="connsiteX2" fmla="*/ 9902773 w 10064299"/>
              <a:gd name="connsiteY2" fmla="*/ 637130 h 7082687"/>
              <a:gd name="connsiteX3" fmla="*/ 10064299 w 10064299"/>
              <a:gd name="connsiteY3" fmla="*/ 798656 h 7082687"/>
              <a:gd name="connsiteX4" fmla="*/ 10064299 w 10064299"/>
              <a:gd name="connsiteY4" fmla="*/ 6921161 h 7082687"/>
              <a:gd name="connsiteX5" fmla="*/ 9902773 w 10064299"/>
              <a:gd name="connsiteY5" fmla="*/ 7082687 h 7082687"/>
              <a:gd name="connsiteX6" fmla="*/ 161526 w 10064299"/>
              <a:gd name="connsiteY6" fmla="*/ 7082687 h 7082687"/>
              <a:gd name="connsiteX7" fmla="*/ 0 w 10064299"/>
              <a:gd name="connsiteY7" fmla="*/ 6921161 h 7082687"/>
              <a:gd name="connsiteX8" fmla="*/ 0 w 10064299"/>
              <a:gd name="connsiteY8" fmla="*/ 798656 h 7082687"/>
              <a:gd name="connsiteX0" fmla="*/ 0 w 10064299"/>
              <a:gd name="connsiteY0" fmla="*/ 798656 h 7082687"/>
              <a:gd name="connsiteX1" fmla="*/ 1482982 w 10064299"/>
              <a:gd name="connsiteY1" fmla="*/ 0 h 7082687"/>
              <a:gd name="connsiteX2" fmla="*/ 9902773 w 10064299"/>
              <a:gd name="connsiteY2" fmla="*/ 637130 h 7082687"/>
              <a:gd name="connsiteX3" fmla="*/ 10064299 w 10064299"/>
              <a:gd name="connsiteY3" fmla="*/ 798656 h 7082687"/>
              <a:gd name="connsiteX4" fmla="*/ 10064299 w 10064299"/>
              <a:gd name="connsiteY4" fmla="*/ 6921161 h 7082687"/>
              <a:gd name="connsiteX5" fmla="*/ 9902773 w 10064299"/>
              <a:gd name="connsiteY5" fmla="*/ 7082687 h 7082687"/>
              <a:gd name="connsiteX6" fmla="*/ 161526 w 10064299"/>
              <a:gd name="connsiteY6" fmla="*/ 7082687 h 7082687"/>
              <a:gd name="connsiteX7" fmla="*/ 0 w 10064299"/>
              <a:gd name="connsiteY7" fmla="*/ 6921161 h 7082687"/>
              <a:gd name="connsiteX8" fmla="*/ 0 w 10064299"/>
              <a:gd name="connsiteY8" fmla="*/ 798656 h 7082687"/>
              <a:gd name="connsiteX0" fmla="*/ 733538 w 10797837"/>
              <a:gd name="connsiteY0" fmla="*/ 511396 h 6795427"/>
              <a:gd name="connsiteX1" fmla="*/ 10636311 w 10797837"/>
              <a:gd name="connsiteY1" fmla="*/ 349870 h 6795427"/>
              <a:gd name="connsiteX2" fmla="*/ 10797837 w 10797837"/>
              <a:gd name="connsiteY2" fmla="*/ 511396 h 6795427"/>
              <a:gd name="connsiteX3" fmla="*/ 10797837 w 10797837"/>
              <a:gd name="connsiteY3" fmla="*/ 6633901 h 6795427"/>
              <a:gd name="connsiteX4" fmla="*/ 10636311 w 10797837"/>
              <a:gd name="connsiteY4" fmla="*/ 6795427 h 6795427"/>
              <a:gd name="connsiteX5" fmla="*/ 895064 w 10797837"/>
              <a:gd name="connsiteY5" fmla="*/ 6795427 h 6795427"/>
              <a:gd name="connsiteX6" fmla="*/ 733538 w 10797837"/>
              <a:gd name="connsiteY6" fmla="*/ 6633901 h 6795427"/>
              <a:gd name="connsiteX7" fmla="*/ 733538 w 10797837"/>
              <a:gd name="connsiteY7" fmla="*/ 511396 h 6795427"/>
              <a:gd name="connsiteX0" fmla="*/ 733538 w 10797837"/>
              <a:gd name="connsiteY0" fmla="*/ 511396 h 6795427"/>
              <a:gd name="connsiteX1" fmla="*/ 10636311 w 10797837"/>
              <a:gd name="connsiteY1" fmla="*/ 349870 h 6795427"/>
              <a:gd name="connsiteX2" fmla="*/ 10797837 w 10797837"/>
              <a:gd name="connsiteY2" fmla="*/ 511396 h 6795427"/>
              <a:gd name="connsiteX3" fmla="*/ 10797837 w 10797837"/>
              <a:gd name="connsiteY3" fmla="*/ 6633901 h 6795427"/>
              <a:gd name="connsiteX4" fmla="*/ 10636311 w 10797837"/>
              <a:gd name="connsiteY4" fmla="*/ 6795427 h 6795427"/>
              <a:gd name="connsiteX5" fmla="*/ 895064 w 10797837"/>
              <a:gd name="connsiteY5" fmla="*/ 6795427 h 6795427"/>
              <a:gd name="connsiteX6" fmla="*/ 733538 w 10797837"/>
              <a:gd name="connsiteY6" fmla="*/ 6633901 h 6795427"/>
              <a:gd name="connsiteX7" fmla="*/ 733538 w 10797837"/>
              <a:gd name="connsiteY7" fmla="*/ 511396 h 6795427"/>
              <a:gd name="connsiteX0" fmla="*/ 1 w 10064300"/>
              <a:gd name="connsiteY0" fmla="*/ 912714 h 7196745"/>
              <a:gd name="connsiteX1" fmla="*/ 9902774 w 10064300"/>
              <a:gd name="connsiteY1" fmla="*/ 751188 h 7196745"/>
              <a:gd name="connsiteX2" fmla="*/ 10064300 w 10064300"/>
              <a:gd name="connsiteY2" fmla="*/ 912714 h 7196745"/>
              <a:gd name="connsiteX3" fmla="*/ 10064300 w 10064300"/>
              <a:gd name="connsiteY3" fmla="*/ 7035219 h 7196745"/>
              <a:gd name="connsiteX4" fmla="*/ 9902774 w 10064300"/>
              <a:gd name="connsiteY4" fmla="*/ 7196745 h 7196745"/>
              <a:gd name="connsiteX5" fmla="*/ 161527 w 10064300"/>
              <a:gd name="connsiteY5" fmla="*/ 7196745 h 7196745"/>
              <a:gd name="connsiteX6" fmla="*/ 1 w 10064300"/>
              <a:gd name="connsiteY6" fmla="*/ 7035219 h 7196745"/>
              <a:gd name="connsiteX7" fmla="*/ 1 w 10064300"/>
              <a:gd name="connsiteY7" fmla="*/ 912714 h 7196745"/>
              <a:gd name="connsiteX0" fmla="*/ 1 w 10064300"/>
              <a:gd name="connsiteY0" fmla="*/ 912714 h 7196745"/>
              <a:gd name="connsiteX1" fmla="*/ 9902774 w 10064300"/>
              <a:gd name="connsiteY1" fmla="*/ 751188 h 7196745"/>
              <a:gd name="connsiteX2" fmla="*/ 10064300 w 10064300"/>
              <a:gd name="connsiteY2" fmla="*/ 912714 h 7196745"/>
              <a:gd name="connsiteX3" fmla="*/ 10064300 w 10064300"/>
              <a:gd name="connsiteY3" fmla="*/ 7035219 h 7196745"/>
              <a:gd name="connsiteX4" fmla="*/ 9902774 w 10064300"/>
              <a:gd name="connsiteY4" fmla="*/ 7196745 h 7196745"/>
              <a:gd name="connsiteX5" fmla="*/ 161527 w 10064300"/>
              <a:gd name="connsiteY5" fmla="*/ 7196745 h 7196745"/>
              <a:gd name="connsiteX6" fmla="*/ 1 w 10064300"/>
              <a:gd name="connsiteY6" fmla="*/ 7035219 h 7196745"/>
              <a:gd name="connsiteX7" fmla="*/ 1 w 10064300"/>
              <a:gd name="connsiteY7" fmla="*/ 912714 h 7196745"/>
              <a:gd name="connsiteX0" fmla="*/ 1 w 10064300"/>
              <a:gd name="connsiteY0" fmla="*/ 912714 h 7196745"/>
              <a:gd name="connsiteX1" fmla="*/ 9902774 w 10064300"/>
              <a:gd name="connsiteY1" fmla="*/ 751188 h 7196745"/>
              <a:gd name="connsiteX2" fmla="*/ 10064300 w 10064300"/>
              <a:gd name="connsiteY2" fmla="*/ 912714 h 7196745"/>
              <a:gd name="connsiteX3" fmla="*/ 10064300 w 10064300"/>
              <a:gd name="connsiteY3" fmla="*/ 7035219 h 7196745"/>
              <a:gd name="connsiteX4" fmla="*/ 9902774 w 10064300"/>
              <a:gd name="connsiteY4" fmla="*/ 7196745 h 7196745"/>
              <a:gd name="connsiteX5" fmla="*/ 161527 w 10064300"/>
              <a:gd name="connsiteY5" fmla="*/ 7196745 h 7196745"/>
              <a:gd name="connsiteX6" fmla="*/ 1 w 10064300"/>
              <a:gd name="connsiteY6" fmla="*/ 7035219 h 7196745"/>
              <a:gd name="connsiteX7" fmla="*/ 1 w 10064300"/>
              <a:gd name="connsiteY7" fmla="*/ 912714 h 7196745"/>
              <a:gd name="connsiteX0" fmla="*/ 1 w 10064300"/>
              <a:gd name="connsiteY0" fmla="*/ 912714 h 7196745"/>
              <a:gd name="connsiteX1" fmla="*/ 9902774 w 10064300"/>
              <a:gd name="connsiteY1" fmla="*/ 751188 h 7196745"/>
              <a:gd name="connsiteX2" fmla="*/ 10064300 w 10064300"/>
              <a:gd name="connsiteY2" fmla="*/ 912714 h 7196745"/>
              <a:gd name="connsiteX3" fmla="*/ 10064300 w 10064300"/>
              <a:gd name="connsiteY3" fmla="*/ 7035219 h 7196745"/>
              <a:gd name="connsiteX4" fmla="*/ 9902774 w 10064300"/>
              <a:gd name="connsiteY4" fmla="*/ 7196745 h 7196745"/>
              <a:gd name="connsiteX5" fmla="*/ 161527 w 10064300"/>
              <a:gd name="connsiteY5" fmla="*/ 7196745 h 7196745"/>
              <a:gd name="connsiteX6" fmla="*/ 1 w 10064300"/>
              <a:gd name="connsiteY6" fmla="*/ 7035219 h 7196745"/>
              <a:gd name="connsiteX7" fmla="*/ 1 w 10064300"/>
              <a:gd name="connsiteY7" fmla="*/ 912714 h 7196745"/>
              <a:gd name="connsiteX0" fmla="*/ 0 w 10064299"/>
              <a:gd name="connsiteY0" fmla="*/ 765313 h 7049344"/>
              <a:gd name="connsiteX1" fmla="*/ 10064299 w 10064299"/>
              <a:gd name="connsiteY1" fmla="*/ 765313 h 7049344"/>
              <a:gd name="connsiteX2" fmla="*/ 10064299 w 10064299"/>
              <a:gd name="connsiteY2" fmla="*/ 6887818 h 7049344"/>
              <a:gd name="connsiteX3" fmla="*/ 9902773 w 10064299"/>
              <a:gd name="connsiteY3" fmla="*/ 7049344 h 7049344"/>
              <a:gd name="connsiteX4" fmla="*/ 161526 w 10064299"/>
              <a:gd name="connsiteY4" fmla="*/ 7049344 h 7049344"/>
              <a:gd name="connsiteX5" fmla="*/ 0 w 10064299"/>
              <a:gd name="connsiteY5" fmla="*/ 6887818 h 7049344"/>
              <a:gd name="connsiteX6" fmla="*/ 0 w 10064299"/>
              <a:gd name="connsiteY6" fmla="*/ 765313 h 7049344"/>
              <a:gd name="connsiteX0" fmla="*/ 0 w 10076098"/>
              <a:gd name="connsiteY0" fmla="*/ 687714 h 6971745"/>
              <a:gd name="connsiteX1" fmla="*/ 10076098 w 10076098"/>
              <a:gd name="connsiteY1" fmla="*/ 852896 h 6971745"/>
              <a:gd name="connsiteX2" fmla="*/ 10064299 w 10076098"/>
              <a:gd name="connsiteY2" fmla="*/ 6810219 h 6971745"/>
              <a:gd name="connsiteX3" fmla="*/ 9902773 w 10076098"/>
              <a:gd name="connsiteY3" fmla="*/ 6971745 h 6971745"/>
              <a:gd name="connsiteX4" fmla="*/ 161526 w 10076098"/>
              <a:gd name="connsiteY4" fmla="*/ 6971745 h 6971745"/>
              <a:gd name="connsiteX5" fmla="*/ 0 w 10076098"/>
              <a:gd name="connsiteY5" fmla="*/ 6810219 h 6971745"/>
              <a:gd name="connsiteX6" fmla="*/ 0 w 10076098"/>
              <a:gd name="connsiteY6" fmla="*/ 687714 h 6971745"/>
              <a:gd name="connsiteX0" fmla="*/ 0 w 10076098"/>
              <a:gd name="connsiteY0" fmla="*/ 413178 h 6697209"/>
              <a:gd name="connsiteX1" fmla="*/ 10076098 w 10076098"/>
              <a:gd name="connsiteY1" fmla="*/ 578360 h 6697209"/>
              <a:gd name="connsiteX2" fmla="*/ 10064299 w 10076098"/>
              <a:gd name="connsiteY2" fmla="*/ 6535683 h 6697209"/>
              <a:gd name="connsiteX3" fmla="*/ 9902773 w 10076098"/>
              <a:gd name="connsiteY3" fmla="*/ 6697209 h 6697209"/>
              <a:gd name="connsiteX4" fmla="*/ 161526 w 10076098"/>
              <a:gd name="connsiteY4" fmla="*/ 6697209 h 6697209"/>
              <a:gd name="connsiteX5" fmla="*/ 0 w 10076098"/>
              <a:gd name="connsiteY5" fmla="*/ 6535683 h 6697209"/>
              <a:gd name="connsiteX6" fmla="*/ 0 w 10076098"/>
              <a:gd name="connsiteY6" fmla="*/ 413178 h 6697209"/>
              <a:gd name="connsiteX0" fmla="*/ 0 w 10076098"/>
              <a:gd name="connsiteY0" fmla="*/ 455237 h 6562287"/>
              <a:gd name="connsiteX1" fmla="*/ 10076098 w 10076098"/>
              <a:gd name="connsiteY1" fmla="*/ 443438 h 6562287"/>
              <a:gd name="connsiteX2" fmla="*/ 10064299 w 10076098"/>
              <a:gd name="connsiteY2" fmla="*/ 6400761 h 6562287"/>
              <a:gd name="connsiteX3" fmla="*/ 9902773 w 10076098"/>
              <a:gd name="connsiteY3" fmla="*/ 6562287 h 6562287"/>
              <a:gd name="connsiteX4" fmla="*/ 161526 w 10076098"/>
              <a:gd name="connsiteY4" fmla="*/ 6562287 h 6562287"/>
              <a:gd name="connsiteX5" fmla="*/ 0 w 10076098"/>
              <a:gd name="connsiteY5" fmla="*/ 6400761 h 6562287"/>
              <a:gd name="connsiteX6" fmla="*/ 0 w 10076098"/>
              <a:gd name="connsiteY6" fmla="*/ 455237 h 6562287"/>
              <a:gd name="connsiteX0" fmla="*/ 0 w 10076098"/>
              <a:gd name="connsiteY0" fmla="*/ 11799 h 6118849"/>
              <a:gd name="connsiteX1" fmla="*/ 10076098 w 10076098"/>
              <a:gd name="connsiteY1" fmla="*/ 0 h 6118849"/>
              <a:gd name="connsiteX2" fmla="*/ 10064299 w 10076098"/>
              <a:gd name="connsiteY2" fmla="*/ 5957323 h 6118849"/>
              <a:gd name="connsiteX3" fmla="*/ 9902773 w 10076098"/>
              <a:gd name="connsiteY3" fmla="*/ 6118849 h 6118849"/>
              <a:gd name="connsiteX4" fmla="*/ 161526 w 10076098"/>
              <a:gd name="connsiteY4" fmla="*/ 6118849 h 6118849"/>
              <a:gd name="connsiteX5" fmla="*/ 0 w 10076098"/>
              <a:gd name="connsiteY5" fmla="*/ 5957323 h 6118849"/>
              <a:gd name="connsiteX6" fmla="*/ 0 w 10076098"/>
              <a:gd name="connsiteY6" fmla="*/ 11799 h 6118849"/>
              <a:gd name="connsiteX0" fmla="*/ 0 w 10076098"/>
              <a:gd name="connsiteY0" fmla="*/ 11799 h 6118849"/>
              <a:gd name="connsiteX1" fmla="*/ 10076098 w 10076098"/>
              <a:gd name="connsiteY1" fmla="*/ 0 h 6118849"/>
              <a:gd name="connsiteX2" fmla="*/ 10064299 w 10076098"/>
              <a:gd name="connsiteY2" fmla="*/ 5957323 h 6118849"/>
              <a:gd name="connsiteX3" fmla="*/ 9902773 w 10076098"/>
              <a:gd name="connsiteY3" fmla="*/ 6118849 h 6118849"/>
              <a:gd name="connsiteX4" fmla="*/ 161526 w 10076098"/>
              <a:gd name="connsiteY4" fmla="*/ 6118849 h 6118849"/>
              <a:gd name="connsiteX5" fmla="*/ 0 w 10076098"/>
              <a:gd name="connsiteY5" fmla="*/ 5957323 h 6118849"/>
              <a:gd name="connsiteX6" fmla="*/ 0 w 10076098"/>
              <a:gd name="connsiteY6" fmla="*/ 11799 h 6118849"/>
              <a:gd name="connsiteX0" fmla="*/ 0 w 10076098"/>
              <a:gd name="connsiteY0" fmla="*/ 59467 h 6118849"/>
              <a:gd name="connsiteX1" fmla="*/ 10076098 w 10076098"/>
              <a:gd name="connsiteY1" fmla="*/ 0 h 6118849"/>
              <a:gd name="connsiteX2" fmla="*/ 10064299 w 10076098"/>
              <a:gd name="connsiteY2" fmla="*/ 5957323 h 6118849"/>
              <a:gd name="connsiteX3" fmla="*/ 9902773 w 10076098"/>
              <a:gd name="connsiteY3" fmla="*/ 6118849 h 6118849"/>
              <a:gd name="connsiteX4" fmla="*/ 161526 w 10076098"/>
              <a:gd name="connsiteY4" fmla="*/ 6118849 h 6118849"/>
              <a:gd name="connsiteX5" fmla="*/ 0 w 10076098"/>
              <a:gd name="connsiteY5" fmla="*/ 5957323 h 6118849"/>
              <a:gd name="connsiteX6" fmla="*/ 0 w 10076098"/>
              <a:gd name="connsiteY6" fmla="*/ 59467 h 6118849"/>
              <a:gd name="connsiteX0" fmla="*/ 0 w 10095598"/>
              <a:gd name="connsiteY0" fmla="*/ 0 h 6059382"/>
              <a:gd name="connsiteX1" fmla="*/ 10095598 w 10095598"/>
              <a:gd name="connsiteY1" fmla="*/ 26335 h 6059382"/>
              <a:gd name="connsiteX2" fmla="*/ 10064299 w 10095598"/>
              <a:gd name="connsiteY2" fmla="*/ 5897856 h 6059382"/>
              <a:gd name="connsiteX3" fmla="*/ 9902773 w 10095598"/>
              <a:gd name="connsiteY3" fmla="*/ 6059382 h 6059382"/>
              <a:gd name="connsiteX4" fmla="*/ 161526 w 10095598"/>
              <a:gd name="connsiteY4" fmla="*/ 6059382 h 6059382"/>
              <a:gd name="connsiteX5" fmla="*/ 0 w 10095598"/>
              <a:gd name="connsiteY5" fmla="*/ 5897856 h 6059382"/>
              <a:gd name="connsiteX6" fmla="*/ 0 w 10095598"/>
              <a:gd name="connsiteY6" fmla="*/ 0 h 6059382"/>
              <a:gd name="connsiteX0" fmla="*/ 0 w 10095598"/>
              <a:gd name="connsiteY0" fmla="*/ 0 h 6059382"/>
              <a:gd name="connsiteX1" fmla="*/ 10095598 w 10095598"/>
              <a:gd name="connsiteY1" fmla="*/ 26335 h 6059382"/>
              <a:gd name="connsiteX2" fmla="*/ 10093552 w 10095598"/>
              <a:gd name="connsiteY2" fmla="*/ 5869257 h 6059382"/>
              <a:gd name="connsiteX3" fmla="*/ 9902773 w 10095598"/>
              <a:gd name="connsiteY3" fmla="*/ 6059382 h 6059382"/>
              <a:gd name="connsiteX4" fmla="*/ 161526 w 10095598"/>
              <a:gd name="connsiteY4" fmla="*/ 6059382 h 6059382"/>
              <a:gd name="connsiteX5" fmla="*/ 0 w 10095598"/>
              <a:gd name="connsiteY5" fmla="*/ 5897856 h 6059382"/>
              <a:gd name="connsiteX6" fmla="*/ 0 w 10095598"/>
              <a:gd name="connsiteY6" fmla="*/ 0 h 60593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0095598" h="6059382">
                <a:moveTo>
                  <a:pt x="0" y="0"/>
                </a:moveTo>
                <a:lnTo>
                  <a:pt x="10095598" y="26335"/>
                </a:lnTo>
                <a:lnTo>
                  <a:pt x="10093552" y="5869257"/>
                </a:lnTo>
                <a:cubicBezTo>
                  <a:pt x="10093552" y="5958465"/>
                  <a:pt x="9991981" y="6059382"/>
                  <a:pt x="9902773" y="6059382"/>
                </a:cubicBezTo>
                <a:lnTo>
                  <a:pt x="161526" y="6059382"/>
                </a:lnTo>
                <a:cubicBezTo>
                  <a:pt x="72318" y="6059382"/>
                  <a:pt x="0" y="5987064"/>
                  <a:pt x="0" y="5897856"/>
                </a:cubicBezTo>
                <a:cubicBezTo>
                  <a:pt x="0" y="3857021"/>
                  <a:pt x="1909" y="1954722"/>
                  <a:pt x="0" y="0"/>
                </a:cubicBezTo>
                <a:close/>
              </a:path>
            </a:pathLst>
          </a:custGeom>
        </p:spPr>
        <p:txBody>
          <a:bodyPr/>
          <a:lstStyle/>
          <a:p>
            <a:endParaRPr lang="ru-RU" dirty="0"/>
          </a:p>
        </p:txBody>
      </p:sp>
      <p:sp>
        <p:nvSpPr>
          <p:cNvPr id="14" name="Текст 8"/>
          <p:cNvSpPr>
            <a:spLocks noGrp="1"/>
          </p:cNvSpPr>
          <p:nvPr>
            <p:ph type="body" sz="quarter" idx="21" hasCustomPrompt="1"/>
          </p:nvPr>
        </p:nvSpPr>
        <p:spPr>
          <a:xfrm>
            <a:off x="574844" y="1786891"/>
            <a:ext cx="2179729" cy="1834550"/>
          </a:xfrm>
        </p:spPr>
        <p:txBody>
          <a:bodyPr lIns="0" tIns="0" rIns="0" bIns="0">
            <a:normAutofit/>
          </a:bodyPr>
          <a:lstStyle>
            <a:lvl1pPr marL="0" marR="0" indent="0" algn="l" defTabSz="122043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939"/>
            </a:lvl1pPr>
          </a:lstStyle>
          <a:p>
            <a:pPr marL="0" marR="0" lvl="0" indent="0" algn="l" defTabSz="122043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ru-RU" sz="939" dirty="0"/>
              <a:t>Работы, проведенные отделом управления клиентской аналитики, </a:t>
            </a:r>
          </a:p>
          <a:p>
            <a:pPr marL="0" marR="0" lvl="0" indent="0" algn="l" defTabSz="122043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ru-RU" sz="939" dirty="0"/>
              <a:t>для проекта</a:t>
            </a:r>
          </a:p>
          <a:p>
            <a:pPr lvl="0"/>
            <a:endParaRPr lang="ru-RU" dirty="0"/>
          </a:p>
        </p:txBody>
      </p:sp>
      <p:pic>
        <p:nvPicPr>
          <p:cNvPr id="18" name="Picture 5"/>
          <p:cNvPicPr>
            <a:picLocks noChangeAspect="1" noChangeArrowheads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=""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929312" y="618792"/>
            <a:ext cx="1418746" cy="18212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="" xmlns:p14="http://schemas.microsoft.com/office/powerpoint/2010/main" val="205560073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Мокап планш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3" descr="C:\Users\Ольга\Google Диск\_Проекты\VM135 Шаблон презентации ПР\02 дизайн\слайды\айпад-18.png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=""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046830" y="1484730"/>
            <a:ext cx="8009440" cy="4863620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5" name="Группа 14"/>
          <p:cNvGrpSpPr/>
          <p:nvPr userDrawn="1"/>
        </p:nvGrpSpPr>
        <p:grpSpPr>
          <a:xfrm>
            <a:off x="9534005" y="592796"/>
            <a:ext cx="371996" cy="210318"/>
            <a:chOff x="17451741" y="889487"/>
            <a:chExt cx="684138" cy="313578"/>
          </a:xfrm>
        </p:grpSpPr>
        <p:sp>
          <p:nvSpPr>
            <p:cNvPr id="16" name="Прямоугольник 15"/>
            <p:cNvSpPr/>
            <p:nvPr/>
          </p:nvSpPr>
          <p:spPr>
            <a:xfrm>
              <a:off x="17451741" y="889487"/>
              <a:ext cx="680558" cy="313578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2415" dirty="0"/>
            </a:p>
          </p:txBody>
        </p:sp>
        <p:sp>
          <p:nvSpPr>
            <p:cNvPr id="17" name="Прямоугольник 16"/>
            <p:cNvSpPr/>
            <p:nvPr/>
          </p:nvSpPr>
          <p:spPr>
            <a:xfrm>
              <a:off x="18055263" y="889487"/>
              <a:ext cx="80616" cy="313578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2415" dirty="0"/>
            </a:p>
          </p:txBody>
        </p:sp>
      </p:grpSp>
      <p:sp>
        <p:nvSpPr>
          <p:cNvPr id="13" name="Номер слайда 3">
            <a:extLst>
              <a:ext uri="{FF2B5EF4-FFF2-40B4-BE49-F238E27FC236}">
                <a16:creationId xmlns="" xmlns:a16="http://schemas.microsoft.com/office/drawing/2014/main" id="{248CF6EF-119E-5245-9FEE-49AEAA6A28EC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9532058" y="592796"/>
            <a:ext cx="328161" cy="210318"/>
          </a:xfrm>
        </p:spPr>
        <p:txBody>
          <a:bodyPr lIns="0" tIns="0" rIns="0" bIns="0"/>
          <a:lstStyle>
            <a:lvl1pPr algn="ctr">
              <a:defRPr sz="805">
                <a:solidFill>
                  <a:schemeClr val="bg1"/>
                </a:solidFill>
              </a:defRPr>
            </a:lvl1pPr>
          </a:lstStyle>
          <a:p>
            <a:fld id="{77CCD23E-997B-4E57-B2D9-5E2603462AC4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Заголовок 1">
            <a:extLst>
              <a:ext uri="{FF2B5EF4-FFF2-40B4-BE49-F238E27FC236}">
                <a16:creationId xmlns="" xmlns:a16="http://schemas.microsoft.com/office/drawing/2014/main" id="{C3AA1F1C-934D-4781-B18B-4A09ED4E01B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7941" y="531159"/>
            <a:ext cx="7011165" cy="802309"/>
          </a:xfrm>
        </p:spPr>
        <p:txBody>
          <a:bodyPr lIns="0" tIns="0" rIns="0" bIns="0" anchor="t">
            <a:noAutofit/>
          </a:bodyPr>
          <a:lstStyle>
            <a:lvl1pPr algn="l">
              <a:defRPr sz="2012"/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21" name="Рисунок 5"/>
          <p:cNvSpPr>
            <a:spLocks noGrp="1"/>
          </p:cNvSpPr>
          <p:nvPr>
            <p:ph type="pic" sz="quarter" idx="19"/>
          </p:nvPr>
        </p:nvSpPr>
        <p:spPr>
          <a:xfrm>
            <a:off x="3459190" y="1988800"/>
            <a:ext cx="5238330" cy="3888540"/>
          </a:xfrm>
          <a:prstGeom prst="roundRect">
            <a:avLst>
              <a:gd name="adj" fmla="val 3261"/>
            </a:avLst>
          </a:prstGeom>
        </p:spPr>
        <p:txBody>
          <a:bodyPr/>
          <a:lstStyle/>
          <a:p>
            <a:endParaRPr lang="ru-RU" dirty="0"/>
          </a:p>
        </p:txBody>
      </p:sp>
      <p:sp>
        <p:nvSpPr>
          <p:cNvPr id="12" name="Текст 8"/>
          <p:cNvSpPr>
            <a:spLocks noGrp="1"/>
          </p:cNvSpPr>
          <p:nvPr>
            <p:ph type="body" sz="quarter" idx="21" hasCustomPrompt="1"/>
          </p:nvPr>
        </p:nvSpPr>
        <p:spPr>
          <a:xfrm>
            <a:off x="574844" y="1786891"/>
            <a:ext cx="2289865" cy="1834550"/>
          </a:xfrm>
        </p:spPr>
        <p:txBody>
          <a:bodyPr lIns="0" tIns="0" rIns="0" bIns="0">
            <a:normAutofit/>
          </a:bodyPr>
          <a:lstStyle>
            <a:lvl1pPr marL="0" marR="0" indent="0" algn="l" defTabSz="122043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939"/>
            </a:lvl1pPr>
          </a:lstStyle>
          <a:p>
            <a:pPr marL="0" marR="0" lvl="0" indent="0" algn="l" defTabSz="122043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ru-RU" sz="939" dirty="0"/>
              <a:t>Работы, проведенные отделом управления клиентской аналитики, </a:t>
            </a:r>
          </a:p>
          <a:p>
            <a:pPr marL="0" marR="0" lvl="0" indent="0" algn="l" defTabSz="122043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ru-RU" sz="939" dirty="0"/>
              <a:t>для проекта</a:t>
            </a:r>
          </a:p>
          <a:p>
            <a:pPr lvl="0"/>
            <a:endParaRPr lang="ru-RU" dirty="0"/>
          </a:p>
        </p:txBody>
      </p:sp>
      <p:pic>
        <p:nvPicPr>
          <p:cNvPr id="19" name="Picture 5"/>
          <p:cNvPicPr>
            <a:picLocks noChangeAspect="1" noChangeArrowheads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=""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929312" y="618792"/>
            <a:ext cx="1418746" cy="18212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="" xmlns:p14="http://schemas.microsoft.com/office/powerpoint/2010/main" val="42509840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Мокап ноутбу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3" descr="C:\Users\Ольга\Google Диск\_Проекты\VM135 Шаблон презентации ПР\02 дизайн\слайды\ноут-19.png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=""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088821" y="1208830"/>
            <a:ext cx="7273010" cy="5262489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5" name="Группа 14"/>
          <p:cNvGrpSpPr/>
          <p:nvPr userDrawn="1"/>
        </p:nvGrpSpPr>
        <p:grpSpPr>
          <a:xfrm>
            <a:off x="9534005" y="592796"/>
            <a:ext cx="371996" cy="210318"/>
            <a:chOff x="17451741" y="889487"/>
            <a:chExt cx="684138" cy="313578"/>
          </a:xfrm>
        </p:grpSpPr>
        <p:sp>
          <p:nvSpPr>
            <p:cNvPr id="16" name="Прямоугольник 15"/>
            <p:cNvSpPr/>
            <p:nvPr/>
          </p:nvSpPr>
          <p:spPr>
            <a:xfrm>
              <a:off x="17451741" y="889487"/>
              <a:ext cx="680558" cy="313578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2415" dirty="0"/>
            </a:p>
          </p:txBody>
        </p:sp>
        <p:sp>
          <p:nvSpPr>
            <p:cNvPr id="17" name="Прямоугольник 16"/>
            <p:cNvSpPr/>
            <p:nvPr/>
          </p:nvSpPr>
          <p:spPr>
            <a:xfrm>
              <a:off x="18055263" y="889487"/>
              <a:ext cx="80616" cy="313578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2415" dirty="0"/>
            </a:p>
          </p:txBody>
        </p:sp>
      </p:grpSp>
      <p:sp>
        <p:nvSpPr>
          <p:cNvPr id="12" name="Номер слайда 3">
            <a:extLst>
              <a:ext uri="{FF2B5EF4-FFF2-40B4-BE49-F238E27FC236}">
                <a16:creationId xmlns="" xmlns:a16="http://schemas.microsoft.com/office/drawing/2014/main" id="{2B7661B4-0F67-1D4A-8E26-2FCAA047C01A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9532058" y="592796"/>
            <a:ext cx="328161" cy="210318"/>
          </a:xfrm>
        </p:spPr>
        <p:txBody>
          <a:bodyPr lIns="0" tIns="0" rIns="0" bIns="0"/>
          <a:lstStyle>
            <a:lvl1pPr algn="ctr">
              <a:defRPr sz="805">
                <a:solidFill>
                  <a:schemeClr val="bg1"/>
                </a:solidFill>
              </a:defRPr>
            </a:lvl1pPr>
          </a:lstStyle>
          <a:p>
            <a:fld id="{77CCD23E-997B-4E57-B2D9-5E2603462AC4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Заголовок 1">
            <a:extLst>
              <a:ext uri="{FF2B5EF4-FFF2-40B4-BE49-F238E27FC236}">
                <a16:creationId xmlns="" xmlns:a16="http://schemas.microsoft.com/office/drawing/2014/main" id="{B583F64F-2402-4C0D-9BB5-79CBB640302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7942" y="531160"/>
            <a:ext cx="6801876" cy="754011"/>
          </a:xfrm>
        </p:spPr>
        <p:txBody>
          <a:bodyPr lIns="0" tIns="0" rIns="0" bIns="0" anchor="t">
            <a:noAutofit/>
          </a:bodyPr>
          <a:lstStyle>
            <a:lvl1pPr algn="l">
              <a:defRPr sz="2012"/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22" name="Рисунок 4"/>
          <p:cNvSpPr>
            <a:spLocks noGrp="1"/>
          </p:cNvSpPr>
          <p:nvPr>
            <p:ph type="pic" sz="quarter" idx="18"/>
          </p:nvPr>
        </p:nvSpPr>
        <p:spPr>
          <a:xfrm>
            <a:off x="3152750" y="2017745"/>
            <a:ext cx="5112710" cy="3358037"/>
          </a:xfrm>
        </p:spPr>
        <p:txBody>
          <a:bodyPr/>
          <a:lstStyle/>
          <a:p>
            <a:endParaRPr lang="ru-RU" dirty="0"/>
          </a:p>
        </p:txBody>
      </p:sp>
      <p:sp>
        <p:nvSpPr>
          <p:cNvPr id="13" name="Текст 8"/>
          <p:cNvSpPr>
            <a:spLocks noGrp="1"/>
          </p:cNvSpPr>
          <p:nvPr>
            <p:ph type="body" sz="quarter" idx="21" hasCustomPrompt="1"/>
          </p:nvPr>
        </p:nvSpPr>
        <p:spPr>
          <a:xfrm>
            <a:off x="574844" y="1786891"/>
            <a:ext cx="2087251" cy="1834550"/>
          </a:xfrm>
        </p:spPr>
        <p:txBody>
          <a:bodyPr lIns="0" tIns="0" rIns="0" bIns="0">
            <a:normAutofit/>
          </a:bodyPr>
          <a:lstStyle>
            <a:lvl1pPr marL="0" marR="0" indent="0" algn="l" defTabSz="122043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939"/>
            </a:lvl1pPr>
          </a:lstStyle>
          <a:p>
            <a:pPr marL="0" marR="0" lvl="0" indent="0" algn="l" defTabSz="122043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ru-RU" sz="939" dirty="0"/>
              <a:t>Работы, проведенные отделом управления клиентской аналитики, </a:t>
            </a:r>
          </a:p>
          <a:p>
            <a:pPr marL="0" marR="0" lvl="0" indent="0" algn="l" defTabSz="122043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ru-RU" sz="939" dirty="0"/>
              <a:t>для проекта</a:t>
            </a:r>
          </a:p>
          <a:p>
            <a:pPr lvl="0"/>
            <a:endParaRPr lang="ru-RU" dirty="0"/>
          </a:p>
        </p:txBody>
      </p:sp>
      <p:pic>
        <p:nvPicPr>
          <p:cNvPr id="19" name="Picture 5"/>
          <p:cNvPicPr>
            <a:picLocks noChangeAspect="1" noChangeArrowheads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=""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929312" y="618792"/>
            <a:ext cx="1418746" cy="18212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="" xmlns:p14="http://schemas.microsoft.com/office/powerpoint/2010/main" val="216721612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2 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Рисунок 4"/>
          <p:cNvSpPr>
            <a:spLocks noGrp="1"/>
          </p:cNvSpPr>
          <p:nvPr>
            <p:ph type="pic" sz="quarter" idx="10"/>
          </p:nvPr>
        </p:nvSpPr>
        <p:spPr>
          <a:xfrm>
            <a:off x="489334" y="1385169"/>
            <a:ext cx="2819284" cy="5471766"/>
          </a:xfrm>
        </p:spPr>
        <p:txBody>
          <a:bodyPr/>
          <a:lstStyle/>
          <a:p>
            <a:endParaRPr lang="ru-RU" dirty="0"/>
          </a:p>
        </p:txBody>
      </p:sp>
      <p:pic>
        <p:nvPicPr>
          <p:cNvPr id="6" name="Picture 5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9334" y="738965"/>
            <a:ext cx="1414741" cy="2240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" name="Заголовок 2"/>
          <p:cNvSpPr>
            <a:spLocks noGrp="1"/>
          </p:cNvSpPr>
          <p:nvPr>
            <p:ph type="title" hasCustomPrompt="1"/>
          </p:nvPr>
        </p:nvSpPr>
        <p:spPr>
          <a:xfrm>
            <a:off x="3504266" y="1372788"/>
            <a:ext cx="4346472" cy="2056212"/>
          </a:xfrm>
        </p:spPr>
        <p:txBody>
          <a:bodyPr lIns="0" tIns="0" rIns="0" bIns="0" anchor="t"/>
          <a:lstStyle>
            <a:lvl1pPr algn="l">
              <a:defRPr/>
            </a:lvl1pPr>
          </a:lstStyle>
          <a:p>
            <a:r>
              <a:rPr lang="ru-RU" sz="2610" b="1" dirty="0"/>
              <a:t>ОБЛОЖКА РАЗДЕЛА ПРЕЗЕНТАЦИИ </a:t>
            </a:r>
          </a:p>
        </p:txBody>
      </p:sp>
      <p:sp>
        <p:nvSpPr>
          <p:cNvPr id="10" name="Rectangle 9"/>
          <p:cNvSpPr/>
          <p:nvPr userDrawn="1"/>
        </p:nvSpPr>
        <p:spPr>
          <a:xfrm>
            <a:off x="489334" y="1352215"/>
            <a:ext cx="189422" cy="30664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 sz="1375"/>
          </a:p>
        </p:txBody>
      </p:sp>
      <p:sp>
        <p:nvSpPr>
          <p:cNvPr id="11" name="Rectangle 10"/>
          <p:cNvSpPr/>
          <p:nvPr userDrawn="1"/>
        </p:nvSpPr>
        <p:spPr>
          <a:xfrm>
            <a:off x="678067" y="1352215"/>
            <a:ext cx="2630424" cy="3066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 sz="1375"/>
          </a:p>
        </p:txBody>
      </p:sp>
    </p:spTree>
    <p:extLst>
      <p:ext uri="{BB962C8B-B14F-4D97-AF65-F5344CB8AC3E}">
        <p14:creationId xmlns="" xmlns:p14="http://schemas.microsoft.com/office/powerpoint/2010/main" val="182690608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2 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Рисунок 4"/>
          <p:cNvSpPr>
            <a:spLocks noGrp="1"/>
          </p:cNvSpPr>
          <p:nvPr>
            <p:ph type="pic" sz="quarter" idx="10"/>
          </p:nvPr>
        </p:nvSpPr>
        <p:spPr>
          <a:xfrm>
            <a:off x="489334" y="1385169"/>
            <a:ext cx="2819284" cy="5471766"/>
          </a:xfrm>
        </p:spPr>
        <p:txBody>
          <a:bodyPr/>
          <a:lstStyle/>
          <a:p>
            <a:endParaRPr lang="ru-RU" dirty="0"/>
          </a:p>
        </p:txBody>
      </p:sp>
      <p:pic>
        <p:nvPicPr>
          <p:cNvPr id="6" name="Picture 5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9334" y="738965"/>
            <a:ext cx="1414741" cy="2240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" name="Заголовок 2"/>
          <p:cNvSpPr>
            <a:spLocks noGrp="1"/>
          </p:cNvSpPr>
          <p:nvPr>
            <p:ph type="title" hasCustomPrompt="1"/>
          </p:nvPr>
        </p:nvSpPr>
        <p:spPr>
          <a:xfrm>
            <a:off x="3504266" y="1372788"/>
            <a:ext cx="4346472" cy="2056212"/>
          </a:xfrm>
        </p:spPr>
        <p:txBody>
          <a:bodyPr lIns="0" tIns="0" rIns="0" bIns="0" anchor="t"/>
          <a:lstStyle>
            <a:lvl1pPr algn="l">
              <a:defRPr/>
            </a:lvl1pPr>
          </a:lstStyle>
          <a:p>
            <a:r>
              <a:rPr lang="ru-RU" sz="2610" b="1" dirty="0"/>
              <a:t>ОБЛОЖКА РАЗДЕЛА ПРЕЗЕНТАЦИИ </a:t>
            </a:r>
          </a:p>
        </p:txBody>
      </p:sp>
      <p:sp>
        <p:nvSpPr>
          <p:cNvPr id="10" name="Rectangle 9"/>
          <p:cNvSpPr/>
          <p:nvPr userDrawn="1"/>
        </p:nvSpPr>
        <p:spPr>
          <a:xfrm>
            <a:off x="489334" y="1352215"/>
            <a:ext cx="189422" cy="30664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 sz="1375"/>
          </a:p>
        </p:txBody>
      </p:sp>
      <p:sp>
        <p:nvSpPr>
          <p:cNvPr id="11" name="Rectangle 10"/>
          <p:cNvSpPr/>
          <p:nvPr userDrawn="1"/>
        </p:nvSpPr>
        <p:spPr>
          <a:xfrm>
            <a:off x="678067" y="1352215"/>
            <a:ext cx="2630424" cy="3066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 sz="1375"/>
          </a:p>
        </p:txBody>
      </p:sp>
    </p:spTree>
    <p:extLst>
      <p:ext uri="{BB962C8B-B14F-4D97-AF65-F5344CB8AC3E}">
        <p14:creationId xmlns="" xmlns:p14="http://schemas.microsoft.com/office/powerpoint/2010/main" val="420379793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vmlDrawing" Target="../drawings/vmlDrawing1.vml"/><Relationship Id="rId5" Type="http://schemas.openxmlformats.org/officeDocument/2006/relationships/slideLayout" Target="../slideLayouts/slideLayout5.xml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Объект 8" hidden="1"/>
          <p:cNvGraphicFramePr>
            <a:graphicFrameLocks noChangeAspect="1"/>
          </p:cNvGraphicFramePr>
          <p:nvPr userDrawn="1">
            <p:custDataLst>
              <p:tags r:id="rId1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p:oleObj spid="_x0000_s1084" name="think-cell Slide" r:id="rId13" imgW="360" imgH="360" progId="">
              <p:embed/>
            </p:oleObj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95301" y="274638"/>
            <a:ext cx="8915400" cy="1143000"/>
          </a:xfrm>
          <a:prstGeom prst="rect">
            <a:avLst/>
          </a:prstGeom>
        </p:spPr>
        <p:txBody>
          <a:bodyPr vert="horz" lIns="181964" tIns="90983" rIns="181964" bIns="90983" rtlCol="0" anchor="ctr">
            <a:normAutofit/>
          </a:bodyPr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95301" y="1600202"/>
            <a:ext cx="8915400" cy="4525963"/>
          </a:xfrm>
          <a:prstGeom prst="rect">
            <a:avLst/>
          </a:prstGeom>
        </p:spPr>
        <p:txBody>
          <a:bodyPr vert="horz" lIns="181964" tIns="90983" rIns="181964" bIns="90983" rtlCol="0">
            <a:norm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95300" y="6356351"/>
            <a:ext cx="2311400" cy="365125"/>
          </a:xfrm>
          <a:prstGeom prst="rect">
            <a:avLst/>
          </a:prstGeom>
        </p:spPr>
        <p:txBody>
          <a:bodyPr vert="horz" lIns="181964" tIns="90983" rIns="181964" bIns="90983" rtlCol="0" anchor="ctr"/>
          <a:lstStyle>
            <a:lvl1pPr algn="l">
              <a:defRPr sz="161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384551" y="6356351"/>
            <a:ext cx="3136900" cy="365125"/>
          </a:xfrm>
          <a:prstGeom prst="rect">
            <a:avLst/>
          </a:prstGeom>
        </p:spPr>
        <p:txBody>
          <a:bodyPr vert="horz" lIns="181964" tIns="90983" rIns="181964" bIns="90983" rtlCol="0" anchor="ctr"/>
          <a:lstStyle>
            <a:lvl1pPr algn="ctr">
              <a:defRPr sz="161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7099300" y="6356351"/>
            <a:ext cx="2311400" cy="365125"/>
          </a:xfrm>
          <a:prstGeom prst="rect">
            <a:avLst/>
          </a:prstGeom>
        </p:spPr>
        <p:txBody>
          <a:bodyPr vert="horz" lIns="181964" tIns="90983" rIns="181964" bIns="90983" rtlCol="0" anchor="ctr"/>
          <a:lstStyle>
            <a:lvl1pPr algn="r">
              <a:defRPr sz="161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7CCD23E-997B-4E57-B2D9-5E2603462AC4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="" xmlns:p14="http://schemas.microsoft.com/office/powerpoint/2010/main" val="416743213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8" r:id="rId1"/>
    <p:sldLayoutId id="2147483659" r:id="rId2"/>
    <p:sldLayoutId id="2147483660" r:id="rId3"/>
    <p:sldLayoutId id="2147483661" r:id="rId4"/>
    <p:sldLayoutId id="2147483662" r:id="rId5"/>
    <p:sldLayoutId id="2147483663" r:id="rId6"/>
    <p:sldLayoutId id="2147483664" r:id="rId7"/>
    <p:sldLayoutId id="2147483665" r:id="rId8"/>
    <p:sldLayoutId id="2147483666" r:id="rId9"/>
  </p:sldLayoutIdLst>
  <p:hf hdr="0" ftr="0" dt="0"/>
  <p:txStyles>
    <p:titleStyle>
      <a:lvl1pPr algn="ctr" defTabSz="1220432" rtl="0" eaLnBrk="1" latinLnBrk="0" hangingPunct="1">
        <a:spcBef>
          <a:spcPct val="0"/>
        </a:spcBef>
        <a:buNone/>
        <a:defRPr sz="3219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457663" indent="-457663" algn="l" defTabSz="1220432" rtl="0" eaLnBrk="1" latinLnBrk="0" hangingPunct="1">
        <a:spcBef>
          <a:spcPct val="20000"/>
        </a:spcBef>
        <a:buFont typeface="Arial" panose="020B0604020202020204" pitchFamily="34" charset="0"/>
        <a:buChar char="•"/>
        <a:defRPr sz="2616" kern="1200">
          <a:solidFill>
            <a:schemeClr val="tx1"/>
          </a:solidFill>
          <a:latin typeface="+mn-lt"/>
          <a:ea typeface="+mn-ea"/>
          <a:cs typeface="+mn-cs"/>
        </a:defRPr>
      </a:lvl1pPr>
      <a:lvl2pPr marL="991600" indent="-381383" algn="l" defTabSz="1220432" rtl="0" eaLnBrk="1" latinLnBrk="0" hangingPunct="1">
        <a:spcBef>
          <a:spcPct val="20000"/>
        </a:spcBef>
        <a:buFont typeface="Arial" panose="020B0604020202020204" pitchFamily="34" charset="0"/>
        <a:buChar char="–"/>
        <a:defRPr sz="2415" kern="1200">
          <a:solidFill>
            <a:schemeClr val="tx1"/>
          </a:solidFill>
          <a:latin typeface="+mn-lt"/>
          <a:ea typeface="+mn-ea"/>
          <a:cs typeface="+mn-cs"/>
        </a:defRPr>
      </a:lvl2pPr>
      <a:lvl3pPr marL="1525538" indent="-305107" algn="l" defTabSz="1220432" rtl="0" eaLnBrk="1" latinLnBrk="0" hangingPunct="1">
        <a:spcBef>
          <a:spcPct val="20000"/>
        </a:spcBef>
        <a:buFont typeface="Arial" panose="020B0604020202020204" pitchFamily="34" charset="0"/>
        <a:buChar char="•"/>
        <a:defRPr sz="2146" kern="1200">
          <a:solidFill>
            <a:schemeClr val="tx1"/>
          </a:solidFill>
          <a:latin typeface="+mn-lt"/>
          <a:ea typeface="+mn-ea"/>
          <a:cs typeface="+mn-cs"/>
        </a:defRPr>
      </a:lvl3pPr>
      <a:lvl4pPr marL="2135756" indent="-305107" algn="l" defTabSz="1220432" rtl="0" eaLnBrk="1" latinLnBrk="0" hangingPunct="1">
        <a:spcBef>
          <a:spcPct val="20000"/>
        </a:spcBef>
        <a:buFont typeface="Arial" panose="020B0604020202020204" pitchFamily="34" charset="0"/>
        <a:buChar char="–"/>
        <a:defRPr sz="1878" kern="1200">
          <a:solidFill>
            <a:schemeClr val="tx1"/>
          </a:solidFill>
          <a:latin typeface="+mn-lt"/>
          <a:ea typeface="+mn-ea"/>
          <a:cs typeface="+mn-cs"/>
        </a:defRPr>
      </a:lvl4pPr>
      <a:lvl5pPr marL="2745970" indent="-305107" algn="l" defTabSz="1220432" rtl="0" eaLnBrk="1" latinLnBrk="0" hangingPunct="1">
        <a:spcBef>
          <a:spcPct val="20000"/>
        </a:spcBef>
        <a:buFont typeface="Arial" panose="020B0604020202020204" pitchFamily="34" charset="0"/>
        <a:buChar char="»"/>
        <a:defRPr sz="1878" kern="1200">
          <a:solidFill>
            <a:schemeClr val="tx1"/>
          </a:solidFill>
          <a:latin typeface="+mn-lt"/>
          <a:ea typeface="+mn-ea"/>
          <a:cs typeface="+mn-cs"/>
        </a:defRPr>
      </a:lvl5pPr>
      <a:lvl6pPr marL="3356187" indent="-305107" algn="l" defTabSz="1220432" rtl="0" eaLnBrk="1" latinLnBrk="0" hangingPunct="1">
        <a:spcBef>
          <a:spcPct val="20000"/>
        </a:spcBef>
        <a:buFont typeface="Arial" panose="020B0604020202020204" pitchFamily="34" charset="0"/>
        <a:buChar char="•"/>
        <a:defRPr sz="2683" kern="1200">
          <a:solidFill>
            <a:schemeClr val="tx1"/>
          </a:solidFill>
          <a:latin typeface="+mn-lt"/>
          <a:ea typeface="+mn-ea"/>
          <a:cs typeface="+mn-cs"/>
        </a:defRPr>
      </a:lvl6pPr>
      <a:lvl7pPr marL="3966402" indent="-305107" algn="l" defTabSz="1220432" rtl="0" eaLnBrk="1" latinLnBrk="0" hangingPunct="1">
        <a:spcBef>
          <a:spcPct val="20000"/>
        </a:spcBef>
        <a:buFont typeface="Arial" panose="020B0604020202020204" pitchFamily="34" charset="0"/>
        <a:buChar char="•"/>
        <a:defRPr sz="2683" kern="1200">
          <a:solidFill>
            <a:schemeClr val="tx1"/>
          </a:solidFill>
          <a:latin typeface="+mn-lt"/>
          <a:ea typeface="+mn-ea"/>
          <a:cs typeface="+mn-cs"/>
        </a:defRPr>
      </a:lvl7pPr>
      <a:lvl8pPr marL="4576619" indent="-305107" algn="l" defTabSz="1220432" rtl="0" eaLnBrk="1" latinLnBrk="0" hangingPunct="1">
        <a:spcBef>
          <a:spcPct val="20000"/>
        </a:spcBef>
        <a:buFont typeface="Arial" panose="020B0604020202020204" pitchFamily="34" charset="0"/>
        <a:buChar char="•"/>
        <a:defRPr sz="2683" kern="1200">
          <a:solidFill>
            <a:schemeClr val="tx1"/>
          </a:solidFill>
          <a:latin typeface="+mn-lt"/>
          <a:ea typeface="+mn-ea"/>
          <a:cs typeface="+mn-cs"/>
        </a:defRPr>
      </a:lvl8pPr>
      <a:lvl9pPr marL="5186834" indent="-305107" algn="l" defTabSz="1220432" rtl="0" eaLnBrk="1" latinLnBrk="0" hangingPunct="1">
        <a:spcBef>
          <a:spcPct val="20000"/>
        </a:spcBef>
        <a:buFont typeface="Arial" panose="020B0604020202020204" pitchFamily="34" charset="0"/>
        <a:buChar char="•"/>
        <a:defRPr sz="2683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1220432" rtl="0" eaLnBrk="1" latinLnBrk="0" hangingPunct="1">
        <a:defRPr sz="2415" kern="1200">
          <a:solidFill>
            <a:schemeClr val="tx1"/>
          </a:solidFill>
          <a:latin typeface="+mn-lt"/>
          <a:ea typeface="+mn-ea"/>
          <a:cs typeface="+mn-cs"/>
        </a:defRPr>
      </a:lvl1pPr>
      <a:lvl2pPr marL="610216" algn="l" defTabSz="1220432" rtl="0" eaLnBrk="1" latinLnBrk="0" hangingPunct="1">
        <a:defRPr sz="2415" kern="1200">
          <a:solidFill>
            <a:schemeClr val="tx1"/>
          </a:solidFill>
          <a:latin typeface="+mn-lt"/>
          <a:ea typeface="+mn-ea"/>
          <a:cs typeface="+mn-cs"/>
        </a:defRPr>
      </a:lvl2pPr>
      <a:lvl3pPr marL="1220432" algn="l" defTabSz="1220432" rtl="0" eaLnBrk="1" latinLnBrk="0" hangingPunct="1">
        <a:defRPr sz="2415" kern="1200">
          <a:solidFill>
            <a:schemeClr val="tx1"/>
          </a:solidFill>
          <a:latin typeface="+mn-lt"/>
          <a:ea typeface="+mn-ea"/>
          <a:cs typeface="+mn-cs"/>
        </a:defRPr>
      </a:lvl3pPr>
      <a:lvl4pPr marL="1830647" algn="l" defTabSz="1220432" rtl="0" eaLnBrk="1" latinLnBrk="0" hangingPunct="1">
        <a:defRPr sz="2415" kern="1200">
          <a:solidFill>
            <a:schemeClr val="tx1"/>
          </a:solidFill>
          <a:latin typeface="+mn-lt"/>
          <a:ea typeface="+mn-ea"/>
          <a:cs typeface="+mn-cs"/>
        </a:defRPr>
      </a:lvl4pPr>
      <a:lvl5pPr marL="2440862" algn="l" defTabSz="1220432" rtl="0" eaLnBrk="1" latinLnBrk="0" hangingPunct="1">
        <a:defRPr sz="2415" kern="1200">
          <a:solidFill>
            <a:schemeClr val="tx1"/>
          </a:solidFill>
          <a:latin typeface="+mn-lt"/>
          <a:ea typeface="+mn-ea"/>
          <a:cs typeface="+mn-cs"/>
        </a:defRPr>
      </a:lvl5pPr>
      <a:lvl6pPr marL="3051080" algn="l" defTabSz="1220432" rtl="0" eaLnBrk="1" latinLnBrk="0" hangingPunct="1">
        <a:defRPr sz="2415" kern="1200">
          <a:solidFill>
            <a:schemeClr val="tx1"/>
          </a:solidFill>
          <a:latin typeface="+mn-lt"/>
          <a:ea typeface="+mn-ea"/>
          <a:cs typeface="+mn-cs"/>
        </a:defRPr>
      </a:lvl6pPr>
      <a:lvl7pPr marL="3661293" algn="l" defTabSz="1220432" rtl="0" eaLnBrk="1" latinLnBrk="0" hangingPunct="1">
        <a:defRPr sz="2415" kern="1200">
          <a:solidFill>
            <a:schemeClr val="tx1"/>
          </a:solidFill>
          <a:latin typeface="+mn-lt"/>
          <a:ea typeface="+mn-ea"/>
          <a:cs typeface="+mn-cs"/>
        </a:defRPr>
      </a:lvl7pPr>
      <a:lvl8pPr marL="4271509" algn="l" defTabSz="1220432" rtl="0" eaLnBrk="1" latinLnBrk="0" hangingPunct="1">
        <a:defRPr sz="2415" kern="1200">
          <a:solidFill>
            <a:schemeClr val="tx1"/>
          </a:solidFill>
          <a:latin typeface="+mn-lt"/>
          <a:ea typeface="+mn-ea"/>
          <a:cs typeface="+mn-cs"/>
        </a:defRPr>
      </a:lvl8pPr>
      <a:lvl9pPr marL="4881725" algn="l" defTabSz="1220432" rtl="0" eaLnBrk="1" latinLnBrk="0" hangingPunct="1">
        <a:defRPr sz="241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="" xmlns:p15="http://schemas.microsoft.com/office/powerpoint/2012/main">
        <p15:guide id="2" pos="352">
          <p15:clr>
            <a:srgbClr val="F26B43"/>
          </p15:clr>
        </p15:guide>
        <p15:guide id="3" pos="714">
          <p15:clr>
            <a:srgbClr val="F26B43"/>
          </p15:clr>
        </p15:guide>
        <p15:guide id="4" pos="5888">
          <p15:clr>
            <a:srgbClr val="F26B43"/>
          </p15:clr>
        </p15:guide>
        <p15:guide id="5" pos="5526">
          <p15:clr>
            <a:srgbClr val="F26B43"/>
          </p15:clr>
        </p15:guide>
        <p15:guide id="6" pos="5328">
          <p15:clr>
            <a:srgbClr val="F26B43"/>
          </p15:clr>
        </p15:guide>
        <p15:guide id="7" pos="4966">
          <p15:clr>
            <a:srgbClr val="F26B43"/>
          </p15:clr>
        </p15:guide>
        <p15:guide id="8" pos="4768">
          <p15:clr>
            <a:srgbClr val="F26B43"/>
          </p15:clr>
        </p15:guide>
        <p15:guide id="9" pos="4373">
          <p15:clr>
            <a:srgbClr val="F26B43"/>
          </p15:clr>
        </p15:guide>
        <p15:guide id="10" pos="4175">
          <p15:clr>
            <a:srgbClr val="F26B43"/>
          </p15:clr>
        </p15:guide>
        <p15:guide id="11" pos="3812">
          <p15:clr>
            <a:srgbClr val="F26B43"/>
          </p15:clr>
        </p15:guide>
        <p15:guide id="12" pos="3581">
          <p15:clr>
            <a:srgbClr val="F26B43"/>
          </p15:clr>
        </p15:guide>
        <p15:guide id="13" pos="3219">
          <p15:clr>
            <a:srgbClr val="F26B43"/>
          </p15:clr>
        </p15:guide>
        <p15:guide id="14" pos="3021">
          <p15:clr>
            <a:srgbClr val="F26B43"/>
          </p15:clr>
        </p15:guide>
        <p15:guide id="15" pos="2659">
          <p15:clr>
            <a:srgbClr val="F26B43"/>
          </p15:clr>
        </p15:guide>
        <p15:guide id="16" pos="2428">
          <p15:clr>
            <a:srgbClr val="F26B43"/>
          </p15:clr>
        </p15:guide>
        <p15:guide id="17" pos="2065">
          <p15:clr>
            <a:srgbClr val="F26B43"/>
          </p15:clr>
        </p15:guide>
        <p15:guide id="18" pos="1867">
          <p15:clr>
            <a:srgbClr val="F26B43"/>
          </p15:clr>
        </p15:guide>
        <p15:guide id="19" pos="1472">
          <p15:clr>
            <a:srgbClr val="F26B43"/>
          </p15:clr>
        </p15:guide>
        <p15:guide id="20" pos="1274">
          <p15:clr>
            <a:srgbClr val="F26B43"/>
          </p15:clr>
        </p15:guide>
        <p15:guide id="21" pos="912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10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hyperlink" Target="https://play.google.com/store/apps/details?id=ru.gosuslugi.culture" TargetMode="External"/><Relationship Id="rId7" Type="http://schemas.openxmlformats.org/officeDocument/2006/relationships/image" Target="../media/image11.png"/><Relationship Id="rId2" Type="http://schemas.openxmlformats.org/officeDocument/2006/relationships/hyperlink" Target="https://apps.apple.com/ru/app/id1581979387" TargetMode="External"/><Relationship Id="rId1" Type="http://schemas.openxmlformats.org/officeDocument/2006/relationships/slideLayout" Target="../slideLayouts/slideLayout3.xml"/><Relationship Id="rId6" Type="http://schemas.openxmlformats.org/officeDocument/2006/relationships/hyperlink" Target="https://www.pochtabank.ru/map" TargetMode="External"/><Relationship Id="rId5" Type="http://schemas.openxmlformats.org/officeDocument/2006/relationships/hyperlink" Target="https://culture.gosuslugi.ru/" TargetMode="External"/><Relationship Id="rId4" Type="http://schemas.openxmlformats.org/officeDocument/2006/relationships/hyperlink" Target="https://appgallery.huawei.com/app/C104662065" TargetMode="Externa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77CCD23E-997B-4E57-B2D9-5E2603462AC4}" type="slidenum">
              <a:rPr lang="ru-RU" smtClean="0"/>
              <a:pPr/>
              <a:t>1</a:t>
            </a:fld>
            <a:endParaRPr lang="ru-RU" dirty="0"/>
          </a:p>
        </p:txBody>
      </p:sp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376407" y="805955"/>
            <a:ext cx="9281405" cy="506691"/>
          </a:xfrm>
        </p:spPr>
        <p:txBody>
          <a:bodyPr/>
          <a:lstStyle/>
          <a:p>
            <a:r>
              <a:rPr lang="ru-RU" sz="1600" b="0" dirty="0">
                <a:solidFill>
                  <a:schemeClr val="accent1">
                    <a:lumMod val="50000"/>
                  </a:schemeClr>
                </a:solidFill>
              </a:rPr>
              <a:t>Подтверждение личности это полный доступ ко всем </a:t>
            </a:r>
            <a:r>
              <a:rPr lang="ru-RU" sz="1600" b="0" dirty="0" smtClean="0">
                <a:solidFill>
                  <a:schemeClr val="accent1">
                    <a:lumMod val="50000"/>
                  </a:schemeClr>
                </a:solidFill>
              </a:rPr>
              <a:t>услугам </a:t>
            </a:r>
            <a:r>
              <a:rPr lang="ru-RU" sz="1600" b="0" dirty="0">
                <a:solidFill>
                  <a:schemeClr val="accent1">
                    <a:lumMod val="50000"/>
                  </a:schemeClr>
                </a:solidFill>
              </a:rPr>
              <a:t>портала </a:t>
            </a:r>
            <a:r>
              <a:rPr lang="ru-RU" sz="1600" b="0" dirty="0" err="1" smtClean="0">
                <a:solidFill>
                  <a:schemeClr val="accent1">
                    <a:lumMod val="50000"/>
                  </a:schemeClr>
                </a:solidFill>
              </a:rPr>
              <a:t>Госуслуг</a:t>
            </a:r>
            <a:r>
              <a:rPr lang="ru-RU" sz="1600" b="0" dirty="0" smtClean="0">
                <a:solidFill>
                  <a:schemeClr val="accent1">
                    <a:lumMod val="50000"/>
                  </a:schemeClr>
                </a:solidFill>
              </a:rPr>
              <a:t/>
            </a:r>
            <a:br>
              <a:rPr lang="ru-RU" sz="1600" b="0" dirty="0" smtClean="0">
                <a:solidFill>
                  <a:schemeClr val="accent1">
                    <a:lumMod val="50000"/>
                  </a:schemeClr>
                </a:solidFill>
              </a:rPr>
            </a:br>
            <a:r>
              <a:rPr lang="ru-RU" sz="1600" b="0" dirty="0" smtClean="0">
                <a:solidFill>
                  <a:schemeClr val="accent1">
                    <a:lumMod val="50000"/>
                  </a:schemeClr>
                </a:solidFill>
              </a:rPr>
              <a:t>Подтверждать личность на портале </a:t>
            </a:r>
            <a:r>
              <a:rPr lang="ru-RU" sz="1600" b="0" dirty="0" err="1" smtClean="0">
                <a:solidFill>
                  <a:schemeClr val="accent1">
                    <a:lumMod val="50000"/>
                  </a:schemeClr>
                </a:solidFill>
              </a:rPr>
              <a:t>Госуслуг</a:t>
            </a:r>
            <a:r>
              <a:rPr lang="ru-RU" sz="1600" b="0" dirty="0" smtClean="0">
                <a:solidFill>
                  <a:schemeClr val="accent1">
                    <a:lumMod val="50000"/>
                  </a:schemeClr>
                </a:solidFill>
              </a:rPr>
              <a:t> можно самостоятельно с 14 лет</a:t>
            </a:r>
            <a:r>
              <a:rPr lang="ru-RU" b="0" dirty="0" smtClean="0">
                <a:solidFill>
                  <a:schemeClr val="accent1">
                    <a:lumMod val="50000"/>
                  </a:schemeClr>
                </a:solidFill>
              </a:rPr>
              <a:t> </a:t>
            </a:r>
            <a:endParaRPr lang="ru-RU" b="0" dirty="0">
              <a:solidFill>
                <a:schemeClr val="accent1">
                  <a:lumMod val="50000"/>
                </a:schemeClr>
              </a:solidFill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336935" y="1808489"/>
            <a:ext cx="4256016" cy="1015663"/>
          </a:xfrm>
          <a:prstGeom prst="rect">
            <a:avLst/>
          </a:prstGeom>
          <a:ln>
            <a:solidFill>
              <a:schemeClr val="tx2">
                <a:lumMod val="50000"/>
              </a:schemeClr>
            </a:solidFill>
          </a:ln>
        </p:spPr>
        <p:txBody>
          <a:bodyPr wrap="square">
            <a:spAutoFit/>
          </a:bodyPr>
          <a:lstStyle/>
          <a:p>
            <a:pPr defTabSz="1475103">
              <a:buClr>
                <a:srgbClr val="FF8200"/>
              </a:buClr>
            </a:pPr>
            <a:r>
              <a:rPr lang="ru-RU" sz="1200" dirty="0">
                <a:solidFill>
                  <a:srgbClr val="253779"/>
                </a:solidFill>
              </a:rPr>
              <a:t>Для сельского школьника номинал Пушкинской карты в 5000 рублей- это уникальная возможность </a:t>
            </a:r>
            <a:r>
              <a:rPr lang="ru-RU" sz="1200" dirty="0" smtClean="0">
                <a:solidFill>
                  <a:srgbClr val="253779"/>
                </a:solidFill>
              </a:rPr>
              <a:t>бесплатно </a:t>
            </a:r>
            <a:r>
              <a:rPr lang="ru-RU" sz="1200" dirty="0">
                <a:solidFill>
                  <a:srgbClr val="253779"/>
                </a:solidFill>
              </a:rPr>
              <a:t>посещать </a:t>
            </a:r>
            <a:r>
              <a:rPr lang="ru-RU" sz="1200" dirty="0" smtClean="0">
                <a:solidFill>
                  <a:srgbClr val="253779"/>
                </a:solidFill>
              </a:rPr>
              <a:t>театры</a:t>
            </a:r>
            <a:r>
              <a:rPr lang="ru-RU" sz="1200" dirty="0">
                <a:solidFill>
                  <a:srgbClr val="253779"/>
                </a:solidFill>
              </a:rPr>
              <a:t>, кинотеатры, музеи, выставки, филармонии и другие учреждения </a:t>
            </a:r>
            <a:r>
              <a:rPr lang="ru-RU" sz="1200" dirty="0" smtClean="0">
                <a:solidFill>
                  <a:srgbClr val="253779"/>
                </a:solidFill>
              </a:rPr>
              <a:t>культуры как своего района, так и по всей стране</a:t>
            </a:r>
            <a:endParaRPr lang="ru-RU" sz="1200" dirty="0">
              <a:solidFill>
                <a:srgbClr val="253779"/>
              </a:solidFill>
            </a:endParaRPr>
          </a:p>
        </p:txBody>
      </p:sp>
      <p:pic>
        <p:nvPicPr>
          <p:cNvPr id="2050" name="Picture 2" descr="В 2022 году &quot;Пушкинскую карту&quot; пополнили на 5000 рублей - Национальный  проект «Культура» -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0360" y="2869980"/>
            <a:ext cx="4256120" cy="2340281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2" name="Picture 4" descr="Куда легче всего поступить на бюджет? ПрофГид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34484" y="2869980"/>
            <a:ext cx="4388751" cy="2359270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Прямоугольник 11"/>
          <p:cNvSpPr/>
          <p:nvPr/>
        </p:nvSpPr>
        <p:spPr>
          <a:xfrm>
            <a:off x="4832182" y="1808489"/>
            <a:ext cx="5028037" cy="1015663"/>
          </a:xfrm>
          <a:prstGeom prst="rect">
            <a:avLst/>
          </a:prstGeom>
          <a:ln>
            <a:solidFill>
              <a:schemeClr val="tx2">
                <a:lumMod val="50000"/>
              </a:schemeClr>
            </a:solidFill>
          </a:ln>
        </p:spPr>
        <p:txBody>
          <a:bodyPr wrap="square">
            <a:spAutoFit/>
          </a:bodyPr>
          <a:lstStyle/>
          <a:p>
            <a:pPr defTabSz="1475103">
              <a:buClr>
                <a:srgbClr val="FF8200"/>
              </a:buClr>
            </a:pPr>
            <a:r>
              <a:rPr lang="ru-RU" sz="1200" dirty="0" smtClean="0">
                <a:solidFill>
                  <a:srgbClr val="253779"/>
                </a:solidFill>
              </a:rPr>
              <a:t>Для сельского выпускника подать онлайн заявление на портале </a:t>
            </a:r>
            <a:r>
              <a:rPr lang="ru-RU" sz="1200" dirty="0" err="1" smtClean="0">
                <a:solidFill>
                  <a:srgbClr val="253779"/>
                </a:solidFill>
              </a:rPr>
              <a:t>Госуслуг</a:t>
            </a:r>
            <a:r>
              <a:rPr lang="ru-RU" sz="1200" dirty="0" smtClean="0">
                <a:solidFill>
                  <a:srgbClr val="253779"/>
                </a:solidFill>
              </a:rPr>
              <a:t> для поступления в пять ВУЗов страны- это возможность без дополнительных расходов на дорогу и проживание поступить в ведущие ВУЗы страны, </a:t>
            </a:r>
            <a:r>
              <a:rPr lang="ru-RU" sz="1200" b="1" dirty="0" smtClean="0">
                <a:solidFill>
                  <a:srgbClr val="253779"/>
                </a:solidFill>
              </a:rPr>
              <a:t>а также использовать при поступлении баллы за ГТО и баллы за часы волонтера.</a:t>
            </a:r>
            <a:endParaRPr lang="ru-RU" sz="1200" b="1" dirty="0">
              <a:solidFill>
                <a:srgbClr val="253779"/>
              </a:solidFill>
            </a:endParaRPr>
          </a:p>
        </p:txBody>
      </p:sp>
      <p:sp>
        <p:nvSpPr>
          <p:cNvPr id="13" name="Title 2"/>
          <p:cNvSpPr txBox="1">
            <a:spLocks/>
          </p:cNvSpPr>
          <p:nvPr/>
        </p:nvSpPr>
        <p:spPr>
          <a:xfrm>
            <a:off x="376407" y="306001"/>
            <a:ext cx="8666757" cy="802309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1220432" rtl="0" eaLnBrk="1" latinLnBrk="0" hangingPunct="1">
              <a:spcBef>
                <a:spcPct val="0"/>
              </a:spcBef>
              <a:buNone/>
              <a:defRPr sz="2012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dirty="0" smtClean="0"/>
              <a:t>Услуга ЕСИА в сельской местности</a:t>
            </a:r>
            <a:endParaRPr lang="ru-RU" dirty="0"/>
          </a:p>
        </p:txBody>
      </p:sp>
      <p:sp>
        <p:nvSpPr>
          <p:cNvPr id="6" name="AutoShape 6" descr="Галочка без фона - 38 фото"/>
          <p:cNvSpPr>
            <a:spLocks noChangeAspect="1" noChangeArrowheads="1"/>
          </p:cNvSpPr>
          <p:nvPr/>
        </p:nvSpPr>
        <p:spPr bwMode="auto">
          <a:xfrm>
            <a:off x="-1671920" y="1379515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9" name="AutoShape 8" descr="галочка скачать бесплатно - Галочка Компьютерные иконки клип-арт - Иконка Зеленая  Галочка 2"/>
          <p:cNvSpPr>
            <a:spLocks noChangeAspect="1" noChangeArrowheads="1"/>
          </p:cNvSpPr>
          <p:nvPr/>
        </p:nvSpPr>
        <p:spPr bwMode="auto">
          <a:xfrm>
            <a:off x="307975" y="7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pic>
        <p:nvPicPr>
          <p:cNvPr id="2058" name="Picture 10" descr="Зеленая галочка в круге. Выполнено иконка ПНГ на Прозрачном Фоне • Скачать  PNG Зеленая галочка в круге. Выполнено иконка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0360" y="1510246"/>
            <a:ext cx="252415" cy="252415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" name="Picture 10" descr="Зеленая галочка в круге. Выполнено иконка ПНГ на Прозрачном Фоне • Скачать  PNG Зеленая галочка в круге. Выполнено иконка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14642" y="1510246"/>
            <a:ext cx="252415" cy="252415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TextBox 13"/>
          <p:cNvSpPr txBox="1"/>
          <p:nvPr/>
        </p:nvSpPr>
        <p:spPr>
          <a:xfrm>
            <a:off x="669461" y="1464433"/>
            <a:ext cx="2031838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600" b="1" dirty="0" smtClean="0">
                <a:solidFill>
                  <a:schemeClr val="accent1">
                    <a:lumMod val="50000"/>
                  </a:schemeClr>
                </a:solidFill>
              </a:rPr>
              <a:t>Пушкинская карта</a:t>
            </a:r>
            <a:endParaRPr lang="ru-RU" sz="1600" b="1" dirty="0">
              <a:solidFill>
                <a:schemeClr val="accent1">
                  <a:lumMod val="50000"/>
                </a:schemeClr>
              </a:solidFill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5098317" y="1462229"/>
            <a:ext cx="3151760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600" b="1" dirty="0" smtClean="0">
                <a:solidFill>
                  <a:schemeClr val="accent1">
                    <a:lumMod val="50000"/>
                  </a:schemeClr>
                </a:solidFill>
              </a:rPr>
              <a:t>Онлайн-поступление в ВУЗы</a:t>
            </a:r>
            <a:endParaRPr lang="ru-RU" sz="1600" b="1" dirty="0">
              <a:solidFill>
                <a:schemeClr val="accent1">
                  <a:lumMod val="50000"/>
                </a:schemeClr>
              </a:solidFill>
            </a:endParaRPr>
          </a:p>
        </p:txBody>
      </p:sp>
      <p:sp>
        <p:nvSpPr>
          <p:cNvPr id="20" name="Заголовок 2"/>
          <p:cNvSpPr txBox="1">
            <a:spLocks/>
          </p:cNvSpPr>
          <p:nvPr/>
        </p:nvSpPr>
        <p:spPr>
          <a:xfrm>
            <a:off x="307975" y="5733320"/>
            <a:ext cx="9281405" cy="50669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1220432" rtl="0" eaLnBrk="1" latinLnBrk="0" hangingPunct="1">
              <a:spcBef>
                <a:spcPct val="0"/>
              </a:spcBef>
              <a:buNone/>
              <a:defRPr sz="2012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1600" b="0" dirty="0" smtClean="0">
                <a:solidFill>
                  <a:schemeClr val="accent1">
                    <a:lumMod val="50000"/>
                  </a:schemeClr>
                </a:solidFill>
              </a:rPr>
              <a:t>Подтвердить личность на портале </a:t>
            </a:r>
            <a:r>
              <a:rPr lang="ru-RU" sz="1600" b="0" dirty="0" err="1" smtClean="0">
                <a:solidFill>
                  <a:schemeClr val="accent1">
                    <a:lumMod val="50000"/>
                  </a:schemeClr>
                </a:solidFill>
              </a:rPr>
              <a:t>Госуслуг</a:t>
            </a:r>
            <a:r>
              <a:rPr lang="ru-RU" sz="1600" b="0" dirty="0" smtClean="0">
                <a:solidFill>
                  <a:schemeClr val="accent1">
                    <a:lumMod val="50000"/>
                  </a:schemeClr>
                </a:solidFill>
              </a:rPr>
              <a:t> можно в </a:t>
            </a:r>
            <a:r>
              <a:rPr lang="ru-RU" sz="1600" b="0" dirty="0" smtClean="0">
                <a:solidFill>
                  <a:schemeClr val="accent1">
                    <a:lumMod val="50000"/>
                  </a:schemeClr>
                </a:solidFill>
              </a:rPr>
              <a:t>ОПС  по адресу ст. </a:t>
            </a:r>
            <a:r>
              <a:rPr lang="ru-RU" sz="1600" b="0" dirty="0" err="1" smtClean="0">
                <a:solidFill>
                  <a:schemeClr val="accent1">
                    <a:lumMod val="50000"/>
                  </a:schemeClr>
                </a:solidFill>
              </a:rPr>
              <a:t>Ахтанизовская</a:t>
            </a:r>
            <a:r>
              <a:rPr lang="ru-RU" sz="1600" b="0" dirty="0" smtClean="0">
                <a:solidFill>
                  <a:schemeClr val="accent1">
                    <a:lumMod val="50000"/>
                  </a:schemeClr>
                </a:solidFill>
              </a:rPr>
              <a:t>,              </a:t>
            </a:r>
            <a:r>
              <a:rPr lang="ru-RU" sz="1600" b="0" dirty="0" smtClean="0">
                <a:solidFill>
                  <a:schemeClr val="accent1">
                    <a:lumMod val="50000"/>
                  </a:schemeClr>
                </a:solidFill>
              </a:rPr>
              <a:t>ул. Красная 63</a:t>
            </a:r>
            <a:endParaRPr lang="ru-RU" b="0" dirty="0">
              <a:solidFill>
                <a:schemeClr val="accent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34741337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77CCD23E-997B-4E57-B2D9-5E2603462AC4}" type="slidenum">
              <a:rPr lang="ru-RU" smtClean="0"/>
              <a:pPr/>
              <a:t>2</a:t>
            </a:fld>
            <a:endParaRPr lang="ru-RU" dirty="0"/>
          </a:p>
        </p:txBody>
      </p:sp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704410" y="296801"/>
            <a:ext cx="6980500" cy="506314"/>
          </a:xfrm>
        </p:spPr>
        <p:txBody>
          <a:bodyPr/>
          <a:lstStyle/>
          <a:p>
            <a:r>
              <a:rPr lang="ru-RU" dirty="0">
                <a:solidFill>
                  <a:srgbClr val="0070C0"/>
                </a:solidFill>
              </a:rPr>
              <a:t>Как оформить Пушкинскую карту</a:t>
            </a:r>
          </a:p>
        </p:txBody>
      </p:sp>
      <p:sp>
        <p:nvSpPr>
          <p:cNvPr id="5" name="Заголовок 2"/>
          <p:cNvSpPr txBox="1">
            <a:spLocks/>
          </p:cNvSpPr>
          <p:nvPr/>
        </p:nvSpPr>
        <p:spPr>
          <a:xfrm>
            <a:off x="632400" y="1196690"/>
            <a:ext cx="9001250" cy="547276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1220432" rtl="0" eaLnBrk="1" latinLnBrk="0" hangingPunct="1">
              <a:spcBef>
                <a:spcPct val="0"/>
              </a:spcBef>
              <a:buNone/>
              <a:defRPr sz="2012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1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1. Зарегистрируйтесь </a:t>
            </a:r>
            <a:r>
              <a:rPr lang="ru-RU"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на </a:t>
            </a:r>
            <a:r>
              <a:rPr lang="ru-RU" sz="1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Госуслугах</a:t>
            </a:r>
            <a:r>
              <a:rPr lang="ru-RU"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и подтвердите учётную запись</a:t>
            </a:r>
            <a:r>
              <a:rPr lang="ru-RU" sz="1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.</a:t>
            </a:r>
          </a:p>
          <a:p>
            <a:r>
              <a:rPr lang="ru-RU" sz="1400" b="0" dirty="0">
                <a:latin typeface="Times New Roman" panose="02020603050405020304" pitchFamily="18" charset="0"/>
                <a:cs typeface="Times New Roman" panose="02020603050405020304" pitchFamily="18" charset="0"/>
              </a:rPr>
              <a:t> </a:t>
            </a:r>
            <a:r>
              <a:rPr lang="ru-RU" sz="1400" b="0" dirty="0">
                <a:solidFill>
                  <a:srgbClr val="0070C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Это можно сделать с </a:t>
            </a:r>
            <a:r>
              <a:rPr lang="ru-RU" sz="1400" b="0">
                <a:solidFill>
                  <a:srgbClr val="0070C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14 </a:t>
            </a:r>
            <a:r>
              <a:rPr lang="ru-RU" sz="1400" b="0" smtClean="0">
                <a:solidFill>
                  <a:srgbClr val="0070C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лет (после </a:t>
            </a:r>
            <a:r>
              <a:rPr lang="ru-RU" sz="1400" b="0" dirty="0">
                <a:solidFill>
                  <a:srgbClr val="0070C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олучения </a:t>
            </a:r>
            <a:r>
              <a:rPr lang="ru-RU" sz="1400" b="0" smtClean="0">
                <a:solidFill>
                  <a:srgbClr val="0070C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аспорта РФ)</a:t>
            </a:r>
            <a:endParaRPr lang="ru-RU" sz="1400" b="0" dirty="0" smtClean="0">
              <a:solidFill>
                <a:srgbClr val="0070C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endParaRPr lang="ru-RU" sz="1400" b="0" dirty="0" smtClean="0">
              <a:solidFill>
                <a:srgbClr val="0070C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ru-RU" sz="1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2. Установите </a:t>
            </a:r>
            <a:r>
              <a:rPr lang="ru-RU"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мобильное приложение «</a:t>
            </a:r>
            <a:r>
              <a:rPr lang="ru-RU" sz="1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Госуслуги</a:t>
            </a:r>
            <a:r>
              <a:rPr lang="ru-RU"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Культура».</a:t>
            </a:r>
            <a:r>
              <a:rPr lang="ru-RU" sz="1400" b="0" dirty="0">
                <a:latin typeface="Times New Roman" panose="02020603050405020304" pitchFamily="18" charset="0"/>
                <a:cs typeface="Times New Roman" panose="02020603050405020304" pitchFamily="18" charset="0"/>
              </a:rPr>
              <a:t> </a:t>
            </a:r>
            <a:endParaRPr lang="ru-RU" sz="1400" b="0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ru-RU" sz="1400" b="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Оно </a:t>
            </a:r>
            <a:r>
              <a:rPr lang="ru-RU" sz="1400" b="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доступно в </a:t>
            </a:r>
            <a:r>
              <a:rPr lang="ru-RU" sz="1400" b="0" dirty="0" err="1">
                <a:latin typeface="Times New Roman" panose="02020603050405020304" pitchFamily="18" charset="0"/>
                <a:cs typeface="Times New Roman" panose="02020603050405020304" pitchFamily="18" charset="0"/>
                <a:hlinkClick r:id="rId2"/>
              </a:rPr>
              <a:t>AppStore</a:t>
            </a:r>
            <a:r>
              <a:rPr lang="ru-RU" sz="1400" b="0" dirty="0">
                <a:latin typeface="Times New Roman" panose="02020603050405020304" pitchFamily="18" charset="0"/>
                <a:cs typeface="Times New Roman" panose="02020603050405020304" pitchFamily="18" charset="0"/>
              </a:rPr>
              <a:t>, </a:t>
            </a:r>
            <a:r>
              <a:rPr lang="ru-RU" sz="1400" b="0" dirty="0" err="1">
                <a:latin typeface="Times New Roman" panose="02020603050405020304" pitchFamily="18" charset="0"/>
                <a:cs typeface="Times New Roman" panose="02020603050405020304" pitchFamily="18" charset="0"/>
                <a:hlinkClick r:id="rId3"/>
              </a:rPr>
              <a:t>Google</a:t>
            </a:r>
            <a:r>
              <a:rPr lang="ru-RU" sz="1400" b="0" dirty="0">
                <a:latin typeface="Times New Roman" panose="02020603050405020304" pitchFamily="18" charset="0"/>
                <a:cs typeface="Times New Roman" panose="02020603050405020304" pitchFamily="18" charset="0"/>
                <a:hlinkClick r:id="rId3"/>
              </a:rPr>
              <a:t> </a:t>
            </a:r>
            <a:r>
              <a:rPr lang="ru-RU" sz="1400" b="0" dirty="0" err="1">
                <a:latin typeface="Times New Roman" panose="02020603050405020304" pitchFamily="18" charset="0"/>
                <a:cs typeface="Times New Roman" panose="02020603050405020304" pitchFamily="18" charset="0"/>
                <a:hlinkClick r:id="rId3"/>
              </a:rPr>
              <a:t>Play</a:t>
            </a:r>
            <a:r>
              <a:rPr lang="ru-RU" sz="1400" b="0" dirty="0">
                <a:latin typeface="Times New Roman" panose="02020603050405020304" pitchFamily="18" charset="0"/>
                <a:cs typeface="Times New Roman" panose="02020603050405020304" pitchFamily="18" charset="0"/>
              </a:rPr>
              <a:t> и</a:t>
            </a:r>
            <a:r>
              <a:rPr lang="ru-RU" sz="1400" b="0" dirty="0">
                <a:latin typeface="Times New Roman" panose="02020603050405020304" pitchFamily="18" charset="0"/>
                <a:cs typeface="Times New Roman" panose="02020603050405020304" pitchFamily="18" charset="0"/>
                <a:hlinkClick r:id="rId4"/>
              </a:rPr>
              <a:t> </a:t>
            </a:r>
            <a:r>
              <a:rPr lang="ru-RU" sz="1400" b="0" dirty="0" err="1">
                <a:latin typeface="Times New Roman" panose="02020603050405020304" pitchFamily="18" charset="0"/>
                <a:cs typeface="Times New Roman" panose="02020603050405020304" pitchFamily="18" charset="0"/>
                <a:hlinkClick r:id="rId4"/>
              </a:rPr>
              <a:t>AppGallery</a:t>
            </a:r>
            <a:r>
              <a:rPr lang="ru-RU" sz="1400" b="0" dirty="0">
                <a:latin typeface="Times New Roman" panose="02020603050405020304" pitchFamily="18" charset="0"/>
                <a:cs typeface="Times New Roman" panose="02020603050405020304" pitchFamily="18" charset="0"/>
              </a:rPr>
              <a:t>. QR-код для скачивания приложения размещён </a:t>
            </a:r>
            <a:r>
              <a:rPr lang="ru-RU" sz="1400" b="0" dirty="0">
                <a:latin typeface="Times New Roman" panose="02020603050405020304" pitchFamily="18" charset="0"/>
                <a:cs typeface="Times New Roman" panose="02020603050405020304" pitchFamily="18" charset="0"/>
                <a:hlinkClick r:id="rId5"/>
              </a:rPr>
              <a:t>на </a:t>
            </a:r>
            <a:r>
              <a:rPr lang="ru-RU" sz="1400" b="0" dirty="0" err="1" smtClean="0">
                <a:latin typeface="Times New Roman" panose="02020603050405020304" pitchFamily="18" charset="0"/>
                <a:cs typeface="Times New Roman" panose="02020603050405020304" pitchFamily="18" charset="0"/>
                <a:hlinkClick r:id="rId5"/>
              </a:rPr>
              <a:t>Госуслугах</a:t>
            </a:r>
            <a:r>
              <a:rPr lang="ru-RU" sz="1400" b="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(</a:t>
            </a:r>
            <a:r>
              <a:rPr lang="en-US" sz="1400" b="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www.gosuslugi.ru</a:t>
            </a:r>
            <a:r>
              <a:rPr lang="ru-RU" sz="1400" b="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)</a:t>
            </a:r>
          </a:p>
          <a:p>
            <a:endParaRPr lang="ru-RU" sz="1400" b="0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ru-RU" sz="1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3. Подтвердите </a:t>
            </a:r>
            <a:r>
              <a:rPr lang="ru-RU"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выпуск Пушкинской карты.</a:t>
            </a:r>
            <a:r>
              <a:rPr lang="ru-RU" sz="1400" b="0" dirty="0">
                <a:latin typeface="Times New Roman" panose="02020603050405020304" pitchFamily="18" charset="0"/>
                <a:cs typeface="Times New Roman" panose="02020603050405020304" pitchFamily="18" charset="0"/>
              </a:rPr>
              <a:t> Вы можете оформить виртуальную карту «Мир» прямо в приложении или получить пластиковую карту </a:t>
            </a:r>
            <a:r>
              <a:rPr lang="ru-RU" sz="1400" b="0" dirty="0">
                <a:latin typeface="Times New Roman" panose="02020603050405020304" pitchFamily="18" charset="0"/>
                <a:cs typeface="Times New Roman" panose="02020603050405020304" pitchFamily="18" charset="0"/>
                <a:hlinkClick r:id="rId6"/>
              </a:rPr>
              <a:t>в отделении Почта Банка</a:t>
            </a:r>
            <a:r>
              <a:rPr lang="ru-RU" sz="1400" b="0" dirty="0">
                <a:latin typeface="Times New Roman" panose="02020603050405020304" pitchFamily="18" charset="0"/>
                <a:cs typeface="Times New Roman" panose="02020603050405020304" pitchFamily="18" charset="0"/>
              </a:rPr>
              <a:t>, предъявив паспорт и </a:t>
            </a:r>
            <a:r>
              <a:rPr lang="ru-RU" sz="1400" b="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СНИЛС</a:t>
            </a:r>
          </a:p>
          <a:p>
            <a:endParaRPr lang="ru-RU" sz="1400" b="0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ru-RU" sz="1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4. </a:t>
            </a:r>
            <a:r>
              <a:rPr lang="ru-RU" sz="1400" b="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Выберите </a:t>
            </a:r>
            <a:r>
              <a:rPr lang="ru-RU" sz="1400" b="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мероприятие из афиши в приложении или на сайте  «</a:t>
            </a:r>
            <a:r>
              <a:rPr lang="ru-RU" sz="1400" b="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Культура.РФ</a:t>
            </a:r>
            <a:r>
              <a:rPr lang="ru-RU" sz="1400" b="0" dirty="0">
                <a:latin typeface="Times New Roman" panose="02020603050405020304" pitchFamily="18" charset="0"/>
                <a:cs typeface="Times New Roman" panose="02020603050405020304" pitchFamily="18" charset="0"/>
              </a:rPr>
              <a:t>» и оплатите билет картой. При покупке билетов на сайте самой культурной организации или через кассу убедитесь, что организация участвует в программе. При покупке на сайте ищите кнопку «Оплатить Пушкинской картой»</a:t>
            </a:r>
          </a:p>
          <a:p>
            <a:pPr marL="457200" indent="-457200">
              <a:buFontTx/>
              <a:buAutoNum type="arabicPeriod"/>
            </a:pPr>
            <a:endParaRPr lang="ru-RU" b="0" dirty="0"/>
          </a:p>
          <a:p>
            <a:pPr marL="457200" indent="-457200">
              <a:buAutoNum type="arabicPeriod"/>
            </a:pPr>
            <a:endParaRPr lang="ru-RU" b="0" dirty="0" smtClean="0"/>
          </a:p>
          <a:p>
            <a:pPr marL="457200" indent="-457200">
              <a:buAutoNum type="arabicPeriod"/>
            </a:pPr>
            <a:endParaRPr lang="ru-RU" b="0" dirty="0"/>
          </a:p>
          <a:p>
            <a:pPr marL="457200" indent="-457200">
              <a:buAutoNum type="arabicPeriod"/>
            </a:pPr>
            <a:endParaRPr lang="ru-RU" b="0" dirty="0" smtClean="0"/>
          </a:p>
          <a:p>
            <a:pPr marL="457200" indent="-457200">
              <a:buAutoNum type="arabicPeriod"/>
            </a:pPr>
            <a:endParaRPr lang="ru-RU" b="0" dirty="0"/>
          </a:p>
          <a:p>
            <a:pPr marL="457200" indent="-457200">
              <a:buAutoNum type="arabicPeriod"/>
            </a:pPr>
            <a:endParaRPr lang="ru-RU" b="0" dirty="0" smtClean="0"/>
          </a:p>
          <a:p>
            <a:pPr marL="457200" indent="-457200">
              <a:buAutoNum type="arabicPeriod"/>
            </a:pPr>
            <a:endParaRPr lang="ru-RU" b="0" dirty="0"/>
          </a:p>
          <a:p>
            <a:r>
              <a:rPr lang="ru-RU" sz="1000" dirty="0" smtClean="0"/>
              <a:t>«</a:t>
            </a:r>
            <a:r>
              <a:rPr lang="ru-RU" sz="1000" dirty="0"/>
              <a:t>Пушкинская карта» – это проект для молодежи от 14 до 22 лет. Лимит в 5 000 рублей можно использовать, чтобы купить билеты в музеи, театры, на выставки, экскурсии, мастер-классы и даже в </a:t>
            </a:r>
            <a:r>
              <a:rPr lang="ru-RU" sz="1000" dirty="0" smtClean="0"/>
              <a:t>кино. Воспользоваться можно по всей России.</a:t>
            </a:r>
            <a:endParaRPr lang="ru-RU" sz="1000" dirty="0"/>
          </a:p>
        </p:txBody>
      </p:sp>
      <p:pic>
        <p:nvPicPr>
          <p:cNvPr id="2050" name="Picture 2" descr="https://gu-st.ru/landings-st/assets/svg/culture/girl_1.pn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05410" y="4149100"/>
            <a:ext cx="1371678" cy="1421162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="" xmlns:p14="http://schemas.microsoft.com/office/powerpoint/2010/main" val="319879548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7037&quot;&gt;&lt;version val=&quot;32810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.%m.%Y&lt;/m_strFormatTime&gt;&lt;m_yearfmt&gt;&lt;begin val=&quot;0&quot;/&gt;&lt;end val=&quot;0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4&lt;/m_strFormatTime&gt;&lt;m_yearfmt&gt;&lt;begin val=&quot;0&quot;/&gt;&lt;end val=&quot;4&quot;/&gt;&lt;/m_yearfmt&gt;&lt;/m_precDefaultWeek&gt;&lt;m_precDefaultMonth&gt;&lt;m_bNumberIsYear val=&quot;0&quot;/&gt;&lt;m_strFormatTime&gt;%1&lt;/m_strFormatTime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1&quot;&gt;&lt;elem m_fUsage=&quot;1.00000000000000000000E+00&quot;&gt;&lt;m_msothmcolidx val=&quot;0&quot;/&gt;&lt;m_rgb r=&quot;7F&quot; g=&quot;7F&quot; b=&quot;7F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Тема Office">
  <a:themeElements>
    <a:clrScheme name="Другая 11">
      <a:dk1>
        <a:srgbClr val="000000"/>
      </a:dk1>
      <a:lt1>
        <a:srgbClr val="FFFFFF"/>
      </a:lt1>
      <a:dk2>
        <a:srgbClr val="355AE4"/>
      </a:dk2>
      <a:lt2>
        <a:srgbClr val="EEECE1"/>
      </a:lt2>
      <a:accent1>
        <a:srgbClr val="355AE4"/>
      </a:accent1>
      <a:accent2>
        <a:srgbClr val="FF5A00"/>
      </a:accent2>
      <a:accent3>
        <a:srgbClr val="E7E7E7"/>
      </a:accent3>
      <a:accent4>
        <a:srgbClr val="A7A7A7"/>
      </a:accent4>
      <a:accent5>
        <a:srgbClr val="FF8200"/>
      </a:accent5>
      <a:accent6>
        <a:srgbClr val="FAAA14"/>
      </a:accent6>
      <a:hlink>
        <a:srgbClr val="0000FF"/>
      </a:hlink>
      <a:folHlink>
        <a:srgbClr val="800080"/>
      </a:folHlink>
    </a:clrScheme>
    <a:fontScheme name="Другая 9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15762</TotalTime>
  <Words>134</Words>
  <Application>Microsoft Office PowerPoint</Application>
  <PresentationFormat>Лист A4 (210x297 мм)</PresentationFormat>
  <Paragraphs>27</Paragraphs>
  <Slides>2</Slides>
  <Notes>0</Notes>
  <HiddenSlides>0</HiddenSlides>
  <MMClips>0</MMClips>
  <ScaleCrop>false</ScaleCrop>
  <HeadingPairs>
    <vt:vector size="6" baseType="variant"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2</vt:i4>
      </vt:variant>
    </vt:vector>
  </HeadingPairs>
  <TitlesOfParts>
    <vt:vector size="4" baseType="lpstr">
      <vt:lpstr>1_Тема Office</vt:lpstr>
      <vt:lpstr>think-cell Slide</vt:lpstr>
      <vt:lpstr>Подтверждение личности это полный доступ ко всем услугам портала Госуслуг Подтверждать личность на портале Госуслуг можно самостоятельно с 14 лет </vt:lpstr>
      <vt:lpstr>Как оформить Пушкинскую карту</vt:lpstr>
    </vt:vector>
  </TitlesOfParts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Ольга</dc:creator>
  <cp:lastModifiedBy>Игорь</cp:lastModifiedBy>
  <cp:revision>791</cp:revision>
  <cp:lastPrinted>2022-10-12T06:08:00Z</cp:lastPrinted>
  <dcterms:created xsi:type="dcterms:W3CDTF">2021-07-19T08:04:33Z</dcterms:created>
  <dcterms:modified xsi:type="dcterms:W3CDTF">2023-02-01T13:07:37Z</dcterms:modified>
</cp:coreProperties>
</file>